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69" r:id="rId1"/>
  </p:sldMasterIdLst>
  <p:notesMasterIdLst>
    <p:notesMasterId r:id="rId8"/>
  </p:notesMasterIdLst>
  <p:sldIdLst>
    <p:sldId id="436" r:id="rId2"/>
    <p:sldId id="437" r:id="rId3"/>
    <p:sldId id="438" r:id="rId4"/>
    <p:sldId id="439" r:id="rId5"/>
    <p:sldId id="440" r:id="rId6"/>
    <p:sldId id="441" r:id="rId7"/>
  </p:sldIdLst>
  <p:sldSz cx="9144000" cy="5143500" type="screen16x9"/>
  <p:notesSz cx="6858000" cy="9144000"/>
  <p:custDataLst>
    <p:tags r:id="rId9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3264" userDrawn="1">
          <p15:clr>
            <a:srgbClr val="A4A3A4"/>
          </p15:clr>
        </p15:guide>
        <p15:guide id="3" orient="horz" pos="790" userDrawn="1">
          <p15:clr>
            <a:srgbClr val="A4A3A4"/>
          </p15:clr>
        </p15:guide>
        <p15:guide id="4" orient="horz" pos="2746" userDrawn="1">
          <p15:clr>
            <a:srgbClr val="A4A3A4"/>
          </p15:clr>
        </p15:guide>
        <p15:guide id="5" pos="2832" userDrawn="1">
          <p15:clr>
            <a:srgbClr val="A4A3A4"/>
          </p15:clr>
        </p15:guide>
        <p15:guide id="6" pos="2328" userDrawn="1">
          <p15:clr>
            <a:srgbClr val="A4A3A4"/>
          </p15:clr>
        </p15:guide>
        <p15:guide id="7" pos="156" userDrawn="1">
          <p15:clr>
            <a:srgbClr val="A4A3A4"/>
          </p15:clr>
        </p15:guide>
        <p15:guide id="8" pos="5592" userDrawn="1">
          <p15:clr>
            <a:srgbClr val="A4A3A4"/>
          </p15:clr>
        </p15:guide>
        <p15:guide id="9" orient="horz" pos="387" userDrawn="1">
          <p15:clr>
            <a:srgbClr val="A4A3A4"/>
          </p15:clr>
        </p15:guide>
        <p15:guide id="10" orient="horz" pos="586" userDrawn="1">
          <p15:clr>
            <a:srgbClr val="A4A3A4"/>
          </p15:clr>
        </p15:guide>
        <p15:guide id="11" orient="horz" pos="3012" userDrawn="1">
          <p15:clr>
            <a:srgbClr val="A4A3A4"/>
          </p15:clr>
        </p15:guide>
        <p15:guide id="12" pos="2928" userDrawn="1">
          <p15:clr>
            <a:srgbClr val="A4A3A4"/>
          </p15:clr>
        </p15:guide>
        <p15:guide id="13" orient="horz" pos="3204" userDrawn="1">
          <p15:clr>
            <a:srgbClr val="A4A3A4"/>
          </p15:clr>
        </p15:guide>
        <p15:guide id="14" orient="horz" pos="3132" userDrawn="1">
          <p15:clr>
            <a:srgbClr val="A4A3A4"/>
          </p15:clr>
        </p15:guide>
        <p15:guide id="15" pos="3000" userDrawn="1">
          <p15:clr>
            <a:srgbClr val="A4A3A4"/>
          </p15:clr>
        </p15:guide>
        <p15:guide id="16" pos="480" userDrawn="1">
          <p15:clr>
            <a:srgbClr val="A4A3A4"/>
          </p15:clr>
        </p15:guide>
        <p15:guide id="17" pos="278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my Windows (US - IFS)" initials="" lastIdx="4" clrIdx="0"/>
  <p:cmAuthor id="2" name="Michele Thiede" initials="MT" lastIdx="3" clrIdx="1">
    <p:extLst>
      <p:ext uri="{19B8F6BF-5375-455C-9EA6-DF929625EA0E}">
        <p15:presenceInfo xmlns:p15="http://schemas.microsoft.com/office/powerpoint/2012/main" userId="S-1-5-21-372416507-3140574786-2943197521-36955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66"/>
    <a:srgbClr val="EB8C00"/>
    <a:srgbClr val="0070C0"/>
    <a:srgbClr val="968C6D"/>
    <a:srgbClr val="006A51"/>
    <a:srgbClr val="5571B4"/>
    <a:srgbClr val="FFB600"/>
    <a:srgbClr val="000000"/>
    <a:srgbClr val="C00000"/>
    <a:srgbClr val="7D1A2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044" autoAdjust="0"/>
    <p:restoredTop sz="70392" autoAdjust="0"/>
  </p:normalViewPr>
  <p:slideViewPr>
    <p:cSldViewPr snapToGrid="0">
      <p:cViewPr varScale="1">
        <p:scale>
          <a:sx n="64" d="100"/>
          <a:sy n="64" d="100"/>
        </p:scale>
        <p:origin x="1704" y="40"/>
      </p:cViewPr>
      <p:guideLst>
        <p:guide orient="horz" pos="1620"/>
        <p:guide pos="3264"/>
        <p:guide orient="horz" pos="790"/>
        <p:guide orient="horz" pos="2746"/>
        <p:guide pos="2832"/>
        <p:guide pos="2328"/>
        <p:guide pos="156"/>
        <p:guide pos="5592"/>
        <p:guide orient="horz" pos="387"/>
        <p:guide orient="horz" pos="586"/>
        <p:guide orient="horz" pos="3012"/>
        <p:guide pos="2928"/>
        <p:guide orient="horz" pos="3204"/>
        <p:guide orient="horz" pos="3132"/>
        <p:guide pos="3000"/>
        <p:guide pos="480"/>
        <p:guide pos="278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3" d="100"/>
          <a:sy n="83" d="100"/>
        </p:scale>
        <p:origin x="2010" y="9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799" cy="457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>
                <a:latin typeface="Georgia" panose="02040502050405020303" pitchFamily="18" charset="0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9pPr>
          </a:lstStyle>
          <a:p>
            <a:endParaRPr lang="en-US" dirty="0"/>
          </a:p>
        </p:txBody>
      </p:sp>
      <p:sp>
        <p:nvSpPr>
          <p:cNvPr id="4" name="Shape 4"/>
          <p:cNvSpPr txBox="1">
            <a:spLocks noGrp="1"/>
          </p:cNvSpPr>
          <p:nvPr>
            <p:ph type="dt" idx="10"/>
          </p:nvPr>
        </p:nvSpPr>
        <p:spPr>
          <a:xfrm>
            <a:off x="3884612" y="0"/>
            <a:ext cx="2971799" cy="457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>
                <a:latin typeface="Georgia" panose="02040502050405020303" pitchFamily="18" charset="0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9pPr>
          </a:lstStyle>
          <a:p>
            <a:endParaRPr lang="en-US" dirty="0"/>
          </a:p>
        </p:txBody>
      </p:sp>
      <p:sp>
        <p:nvSpPr>
          <p:cNvPr id="5" name="Shape 5"/>
          <p:cNvSpPr>
            <a:spLocks noGrp="1" noRot="1" noChangeAspect="1"/>
          </p:cNvSpPr>
          <p:nvPr>
            <p:ph type="sldImg" idx="3"/>
          </p:nvPr>
        </p:nvSpPr>
        <p:spPr>
          <a:xfrm>
            <a:off x="380998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6" name="Shape 6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spcBef>
                <a:spcPts val="0"/>
              </a:spcBef>
              <a:defRPr/>
            </a:lvl1pPr>
            <a:lvl2pPr marL="457200" marR="0" lvl="1" indent="0" algn="l" rtl="0">
              <a:spcBef>
                <a:spcPts val="0"/>
              </a:spcBef>
              <a:defRPr/>
            </a:lvl2pPr>
            <a:lvl3pPr marL="914400" marR="0" lvl="2" indent="0" algn="l" rtl="0">
              <a:spcBef>
                <a:spcPts val="0"/>
              </a:spcBef>
              <a:defRPr/>
            </a:lvl3pPr>
            <a:lvl4pPr marL="1371600" marR="0" lvl="3" indent="0" algn="l" rtl="0">
              <a:spcBef>
                <a:spcPts val="0"/>
              </a:spcBef>
              <a:defRPr/>
            </a:lvl4pPr>
            <a:lvl5pPr marL="1828800" marR="0" lvl="4" indent="0" algn="l" rtl="0">
              <a:spcBef>
                <a:spcPts val="0"/>
              </a:spcBef>
              <a:defRPr/>
            </a:lvl5pPr>
            <a:lvl6pPr marL="2286000" marR="0" lvl="5" indent="0" algn="l" rtl="0">
              <a:spcBef>
                <a:spcPts val="0"/>
              </a:spcBef>
              <a:defRPr/>
            </a:lvl6pPr>
            <a:lvl7pPr marL="2743200" marR="0" lvl="6" indent="0" algn="l" rtl="0">
              <a:spcBef>
                <a:spcPts val="0"/>
              </a:spcBef>
              <a:defRPr/>
            </a:lvl7pPr>
            <a:lvl8pPr marL="3200400" marR="0" lvl="7" indent="0" algn="l" rtl="0">
              <a:spcBef>
                <a:spcPts val="0"/>
              </a:spcBef>
              <a:defRPr/>
            </a:lvl8pPr>
            <a:lvl9pPr marL="3657600" marR="0" lvl="8" indent="0" algn="l" rtl="0">
              <a:spcBef>
                <a:spcPts val="0"/>
              </a:spcBef>
              <a:defRPr/>
            </a:lvl9pPr>
          </a:lstStyle>
          <a:p>
            <a:endParaRPr dirty="0"/>
          </a:p>
        </p:txBody>
      </p:sp>
      <p:sp>
        <p:nvSpPr>
          <p:cNvPr id="7" name="Shape 7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799" cy="457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>
                <a:latin typeface="Georgia" panose="02040502050405020303" pitchFamily="18" charset="0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9pPr>
          </a:lstStyle>
          <a:p>
            <a:endParaRPr lang="en-US" dirty="0"/>
          </a:p>
        </p:txBody>
      </p:sp>
      <p:sp>
        <p:nvSpPr>
          <p:cNvPr id="8" name="Shape 8"/>
          <p:cNvSpPr txBox="1">
            <a:spLocks noGrp="1"/>
          </p:cNvSpPr>
          <p:nvPr>
            <p:ph type="sldNum" idx="12"/>
          </p:nvPr>
        </p:nvSpPr>
        <p:spPr>
          <a:xfrm>
            <a:off x="3884612" y="8685213"/>
            <a:ext cx="2971799" cy="457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>
            <a:noAutofit/>
          </a:bodyPr>
          <a:lstStyle/>
          <a:p>
            <a:pPr>
              <a:buClr>
                <a:srgbClr val="000000"/>
              </a:buClr>
              <a:buFont typeface="Arial"/>
              <a:buChar char="●"/>
            </a:pPr>
            <a:endParaRPr lang="en-US" dirty="0" smtClean="0">
              <a:latin typeface="Georgia" panose="02040502050405020303" pitchFamily="18" charset="0"/>
            </a:endParaRPr>
          </a:p>
          <a:p>
            <a:pPr marL="457200" lvl="1" indent="-88900">
              <a:buClr>
                <a:srgbClr val="000000"/>
              </a:buClr>
              <a:buFont typeface="Courier New"/>
              <a:buChar char="o"/>
            </a:pPr>
            <a:endParaRPr lang="en-US" dirty="0" smtClean="0">
              <a:latin typeface="Georgia" panose="02040502050405020303" pitchFamily="18" charset="0"/>
            </a:endParaRPr>
          </a:p>
          <a:p>
            <a:pPr marL="914400" lvl="2" indent="-88900">
              <a:buClr>
                <a:srgbClr val="000000"/>
              </a:buClr>
              <a:buFont typeface="Noto Symbol"/>
              <a:buChar char="▪"/>
            </a:pPr>
            <a:endParaRPr lang="en-US" dirty="0" smtClean="0">
              <a:latin typeface="Georgia" panose="02040502050405020303" pitchFamily="18" charset="0"/>
            </a:endParaRPr>
          </a:p>
          <a:p>
            <a:pPr marL="1371600" lvl="3" indent="-88900">
              <a:buClr>
                <a:srgbClr val="000000"/>
              </a:buClr>
              <a:buFont typeface="Arial"/>
              <a:buChar char="●"/>
            </a:pPr>
            <a:endParaRPr lang="en-US" dirty="0" smtClean="0">
              <a:latin typeface="Georgia" panose="02040502050405020303" pitchFamily="18" charset="0"/>
            </a:endParaRPr>
          </a:p>
          <a:p>
            <a:pPr marL="1828800" lvl="4" indent="-88900">
              <a:buClr>
                <a:srgbClr val="000000"/>
              </a:buClr>
              <a:buFont typeface="Courier New"/>
              <a:buChar char="o"/>
            </a:pPr>
            <a:endParaRPr lang="en-US" dirty="0" smtClean="0">
              <a:latin typeface="Georgia" panose="02040502050405020303" pitchFamily="18" charset="0"/>
            </a:endParaRPr>
          </a:p>
          <a:p>
            <a:pPr marL="2286000" lvl="5" indent="-88900">
              <a:buClr>
                <a:srgbClr val="000000"/>
              </a:buClr>
              <a:buFont typeface="Noto Symbol"/>
              <a:buChar char="▪"/>
            </a:pPr>
            <a:endParaRPr lang="en-US" dirty="0" smtClean="0">
              <a:latin typeface="Georgia" panose="02040502050405020303" pitchFamily="18" charset="0"/>
            </a:endParaRPr>
          </a:p>
          <a:p>
            <a:pPr marL="2743200" lvl="6" indent="-88900">
              <a:buClr>
                <a:srgbClr val="000000"/>
              </a:buClr>
              <a:buFont typeface="Arial"/>
              <a:buChar char="●"/>
            </a:pPr>
            <a:endParaRPr lang="en-US" dirty="0" smtClean="0">
              <a:latin typeface="Georgia" panose="02040502050405020303" pitchFamily="18" charset="0"/>
            </a:endParaRPr>
          </a:p>
          <a:p>
            <a:pPr marL="3200400" lvl="7" indent="-88900">
              <a:buClr>
                <a:srgbClr val="000000"/>
              </a:buClr>
              <a:buFont typeface="Courier New"/>
              <a:buChar char="o"/>
            </a:pPr>
            <a:endParaRPr lang="en-US" dirty="0" smtClean="0">
              <a:latin typeface="Georgia" panose="02040502050405020303" pitchFamily="18" charset="0"/>
            </a:endParaRPr>
          </a:p>
          <a:p>
            <a:pPr marL="3657600" lvl="8" indent="-88900">
              <a:buClr>
                <a:srgbClr val="000000"/>
              </a:buClr>
              <a:buFont typeface="Noto Symbol"/>
              <a:buChar char="▪"/>
            </a:pPr>
            <a:endParaRPr lang="en-US" dirty="0"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8713963"/>
      </p:ext>
    </p:extLst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Georgia" panose="02040502050405020303" pitchFamily="18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4613" y="739775"/>
            <a:ext cx="6569075" cy="3695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572000"/>
            <a:ext cx="5486399" cy="4114800"/>
          </a:xfr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2C06E8-48A6-4E03-8711-C45C0018F498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04658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4613" y="739775"/>
            <a:ext cx="6569075" cy="3695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572000"/>
            <a:ext cx="5486399" cy="4114800"/>
          </a:xfr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2C06E8-48A6-4E03-8711-C45C0018F498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83323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4613" y="739775"/>
            <a:ext cx="6569075" cy="3695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572000"/>
            <a:ext cx="5486399" cy="4114800"/>
          </a:xfr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2C06E8-48A6-4E03-8711-C45C0018F498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432035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4613" y="739775"/>
            <a:ext cx="6569075" cy="3695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572000"/>
            <a:ext cx="5486399" cy="4114800"/>
          </a:xfr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2C06E8-48A6-4E03-8711-C45C0018F498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68886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4613" y="739775"/>
            <a:ext cx="6569075" cy="3695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572000"/>
            <a:ext cx="5486399" cy="4114800"/>
          </a:xfr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2C06E8-48A6-4E03-8711-C45C0018F498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42286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4613" y="739775"/>
            <a:ext cx="6569075" cy="3695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572000"/>
            <a:ext cx="5486399" cy="4114800"/>
          </a:xfr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2C06E8-48A6-4E03-8711-C45C0018F498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334779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Fixed Logo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Shape 32"/>
          <p:cNvGrpSpPr/>
          <p:nvPr/>
        </p:nvGrpSpPr>
        <p:grpSpPr>
          <a:xfrm>
            <a:off x="1276444" y="4352654"/>
            <a:ext cx="907068" cy="688715"/>
            <a:chOff x="518031" y="-1032696"/>
            <a:chExt cx="6162153" cy="4678771"/>
          </a:xfrm>
        </p:grpSpPr>
        <p:grpSp>
          <p:nvGrpSpPr>
            <p:cNvPr id="33" name="Shape 33"/>
            <p:cNvGrpSpPr/>
            <p:nvPr/>
          </p:nvGrpSpPr>
          <p:grpSpPr>
            <a:xfrm>
              <a:off x="4438638" y="-1032696"/>
              <a:ext cx="2241545" cy="2012184"/>
              <a:chOff x="1905000" y="5715000"/>
              <a:chExt cx="445918" cy="381117"/>
            </a:xfrm>
          </p:grpSpPr>
          <p:sp>
            <p:nvSpPr>
              <p:cNvPr id="34" name="Shape 34"/>
              <p:cNvSpPr/>
              <p:nvPr/>
            </p:nvSpPr>
            <p:spPr>
              <a:xfrm>
                <a:off x="2293618" y="5988117"/>
                <a:ext cx="57299" cy="107999"/>
              </a:xfrm>
              <a:prstGeom prst="rect">
                <a:avLst/>
              </a:prstGeom>
              <a:solidFill>
                <a:srgbClr val="F445F6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5" name="Shape 35"/>
              <p:cNvSpPr/>
              <p:nvPr/>
            </p:nvSpPr>
            <p:spPr>
              <a:xfrm>
                <a:off x="2132171" y="5757332"/>
                <a:ext cx="44400" cy="66899"/>
              </a:xfrm>
              <a:prstGeom prst="rect">
                <a:avLst/>
              </a:prstGeom>
              <a:solidFill>
                <a:srgbClr val="F6B67F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6" name="Shape 36"/>
              <p:cNvSpPr/>
              <p:nvPr/>
            </p:nvSpPr>
            <p:spPr>
              <a:xfrm>
                <a:off x="1905000" y="5715000"/>
                <a:ext cx="227099" cy="42300"/>
              </a:xfrm>
              <a:prstGeom prst="rect">
                <a:avLst/>
              </a:prstGeom>
              <a:solidFill>
                <a:srgbClr val="F48F17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7" name="Shape 37"/>
              <p:cNvSpPr/>
              <p:nvPr/>
            </p:nvSpPr>
            <p:spPr>
              <a:xfrm>
                <a:off x="1905000" y="5757332"/>
                <a:ext cx="227099" cy="66899"/>
              </a:xfrm>
              <a:prstGeom prst="rect">
                <a:avLst/>
              </a:prstGeom>
              <a:solidFill>
                <a:srgbClr val="EB660B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8" name="Shape 38"/>
              <p:cNvSpPr/>
              <p:nvPr/>
            </p:nvSpPr>
            <p:spPr>
              <a:xfrm>
                <a:off x="2176460" y="5824246"/>
                <a:ext cx="117299" cy="163800"/>
              </a:xfrm>
              <a:prstGeom prst="rect">
                <a:avLst/>
              </a:prstGeom>
              <a:solidFill>
                <a:srgbClr val="F3BF09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9" name="Shape 39"/>
              <p:cNvSpPr/>
              <p:nvPr/>
            </p:nvSpPr>
            <p:spPr>
              <a:xfrm>
                <a:off x="2176460" y="5988117"/>
                <a:ext cx="117299" cy="107999"/>
              </a:xfrm>
              <a:prstGeom prst="rect">
                <a:avLst/>
              </a:prstGeom>
              <a:solidFill>
                <a:srgbClr val="E93409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0" name="Shape 40"/>
              <p:cNvSpPr/>
              <p:nvPr/>
            </p:nvSpPr>
            <p:spPr>
              <a:xfrm>
                <a:off x="2132171" y="5824246"/>
                <a:ext cx="44400" cy="163800"/>
              </a:xfrm>
              <a:prstGeom prst="rect">
                <a:avLst/>
              </a:prstGeom>
              <a:solidFill>
                <a:srgbClr val="EA8804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1" name="Shape 41"/>
              <p:cNvSpPr/>
              <p:nvPr/>
            </p:nvSpPr>
            <p:spPr>
              <a:xfrm>
                <a:off x="2132171" y="5988117"/>
                <a:ext cx="44400" cy="107999"/>
              </a:xfrm>
              <a:prstGeom prst="rect">
                <a:avLst/>
              </a:prstGeom>
              <a:solidFill>
                <a:srgbClr val="E02504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2" name="Shape 42"/>
              <p:cNvSpPr/>
              <p:nvPr/>
            </p:nvSpPr>
            <p:spPr>
              <a:xfrm>
                <a:off x="1905000" y="5824246"/>
                <a:ext cx="227170" cy="163871"/>
              </a:xfrm>
              <a:custGeom>
                <a:avLst/>
                <a:gdLst/>
                <a:ahLst/>
                <a:cxnLst/>
                <a:rect l="0" t="0" r="0" b="0"/>
                <a:pathLst>
                  <a:path w="159" h="120" extrusionOk="0">
                    <a:moveTo>
                      <a:pt x="0" y="0"/>
                    </a:moveTo>
                    <a:lnTo>
                      <a:pt x="159" y="0"/>
                    </a:lnTo>
                    <a:lnTo>
                      <a:pt x="159" y="120"/>
                    </a:lnTo>
                    <a:lnTo>
                      <a:pt x="99" y="120"/>
                    </a:lnTo>
                    <a:lnTo>
                      <a:pt x="99" y="80"/>
                    </a:lnTo>
                    <a:lnTo>
                      <a:pt x="0" y="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4C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3" name="Shape 43"/>
              <p:cNvSpPr/>
              <p:nvPr/>
            </p:nvSpPr>
            <p:spPr>
              <a:xfrm>
                <a:off x="2046446" y="5988117"/>
                <a:ext cx="85799" cy="107999"/>
              </a:xfrm>
              <a:prstGeom prst="rect">
                <a:avLst/>
              </a:prstGeom>
              <a:solidFill>
                <a:srgbClr val="D614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4" name="Shape 44"/>
              <p:cNvSpPr/>
              <p:nvPr/>
            </p:nvSpPr>
            <p:spPr>
              <a:xfrm>
                <a:off x="1905000" y="5933494"/>
                <a:ext cx="141300" cy="54600"/>
              </a:xfrm>
              <a:prstGeom prst="rect">
                <a:avLst/>
              </a:prstGeom>
              <a:solidFill>
                <a:srgbClr val="C93C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5" name="Shape 45"/>
              <p:cNvSpPr/>
              <p:nvPr/>
            </p:nvSpPr>
            <p:spPr>
              <a:xfrm>
                <a:off x="1905000" y="5988117"/>
                <a:ext cx="141300" cy="107999"/>
              </a:xfrm>
              <a:prstGeom prst="rect">
                <a:avLst/>
              </a:prstGeom>
              <a:solidFill>
                <a:srgbClr val="C010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6" name="Shape 46"/>
              <p:cNvSpPr/>
              <p:nvPr/>
            </p:nvSpPr>
            <p:spPr>
              <a:xfrm>
                <a:off x="2293618" y="5988117"/>
                <a:ext cx="57299" cy="107999"/>
              </a:xfrm>
              <a:prstGeom prst="rect">
                <a:avLst/>
              </a:prstGeom>
              <a:solidFill>
                <a:srgbClr val="F445F6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7" name="Shape 47"/>
              <p:cNvSpPr/>
              <p:nvPr/>
            </p:nvSpPr>
            <p:spPr>
              <a:xfrm>
                <a:off x="2132171" y="5757332"/>
                <a:ext cx="44400" cy="66899"/>
              </a:xfrm>
              <a:prstGeom prst="rect">
                <a:avLst/>
              </a:prstGeom>
              <a:solidFill>
                <a:srgbClr val="F6B67F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8" name="Shape 48"/>
              <p:cNvSpPr/>
              <p:nvPr/>
            </p:nvSpPr>
            <p:spPr>
              <a:xfrm>
                <a:off x="1905000" y="5715000"/>
                <a:ext cx="227099" cy="42300"/>
              </a:xfrm>
              <a:prstGeom prst="rect">
                <a:avLst/>
              </a:prstGeom>
              <a:solidFill>
                <a:srgbClr val="F48F17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9" name="Shape 49"/>
              <p:cNvSpPr/>
              <p:nvPr/>
            </p:nvSpPr>
            <p:spPr>
              <a:xfrm>
                <a:off x="1905000" y="5757332"/>
                <a:ext cx="227099" cy="66899"/>
              </a:xfrm>
              <a:prstGeom prst="rect">
                <a:avLst/>
              </a:prstGeom>
              <a:solidFill>
                <a:srgbClr val="EB660B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0" name="Shape 50"/>
              <p:cNvSpPr/>
              <p:nvPr/>
            </p:nvSpPr>
            <p:spPr>
              <a:xfrm>
                <a:off x="2176460" y="5824246"/>
                <a:ext cx="117299" cy="163800"/>
              </a:xfrm>
              <a:prstGeom prst="rect">
                <a:avLst/>
              </a:prstGeom>
              <a:solidFill>
                <a:srgbClr val="F3BF09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1" name="Shape 51"/>
              <p:cNvSpPr/>
              <p:nvPr/>
            </p:nvSpPr>
            <p:spPr>
              <a:xfrm>
                <a:off x="2176460" y="5988117"/>
                <a:ext cx="117299" cy="107999"/>
              </a:xfrm>
              <a:prstGeom prst="rect">
                <a:avLst/>
              </a:prstGeom>
              <a:solidFill>
                <a:srgbClr val="E93409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2" name="Shape 52"/>
              <p:cNvSpPr/>
              <p:nvPr/>
            </p:nvSpPr>
            <p:spPr>
              <a:xfrm>
                <a:off x="2132171" y="5824246"/>
                <a:ext cx="44400" cy="163800"/>
              </a:xfrm>
              <a:prstGeom prst="rect">
                <a:avLst/>
              </a:prstGeom>
              <a:solidFill>
                <a:srgbClr val="EA8804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3" name="Shape 53"/>
              <p:cNvSpPr/>
              <p:nvPr/>
            </p:nvSpPr>
            <p:spPr>
              <a:xfrm>
                <a:off x="2132171" y="5988117"/>
                <a:ext cx="44400" cy="107999"/>
              </a:xfrm>
              <a:prstGeom prst="rect">
                <a:avLst/>
              </a:prstGeom>
              <a:solidFill>
                <a:srgbClr val="E02504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4" name="Shape 54"/>
              <p:cNvSpPr/>
              <p:nvPr/>
            </p:nvSpPr>
            <p:spPr>
              <a:xfrm>
                <a:off x="1905000" y="5824246"/>
                <a:ext cx="227170" cy="163871"/>
              </a:xfrm>
              <a:custGeom>
                <a:avLst/>
                <a:gdLst/>
                <a:ahLst/>
                <a:cxnLst/>
                <a:rect l="0" t="0" r="0" b="0"/>
                <a:pathLst>
                  <a:path w="159" h="120" extrusionOk="0">
                    <a:moveTo>
                      <a:pt x="0" y="0"/>
                    </a:moveTo>
                    <a:lnTo>
                      <a:pt x="159" y="0"/>
                    </a:lnTo>
                    <a:lnTo>
                      <a:pt x="159" y="120"/>
                    </a:lnTo>
                    <a:lnTo>
                      <a:pt x="99" y="120"/>
                    </a:lnTo>
                    <a:lnTo>
                      <a:pt x="99" y="80"/>
                    </a:lnTo>
                    <a:lnTo>
                      <a:pt x="0" y="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4C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5" name="Shape 55"/>
              <p:cNvSpPr/>
              <p:nvPr/>
            </p:nvSpPr>
            <p:spPr>
              <a:xfrm>
                <a:off x="2046446" y="5988117"/>
                <a:ext cx="85799" cy="107999"/>
              </a:xfrm>
              <a:prstGeom prst="rect">
                <a:avLst/>
              </a:prstGeom>
              <a:solidFill>
                <a:srgbClr val="D614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6" name="Shape 56"/>
              <p:cNvSpPr/>
              <p:nvPr/>
            </p:nvSpPr>
            <p:spPr>
              <a:xfrm>
                <a:off x="1905000" y="5933494"/>
                <a:ext cx="141300" cy="54600"/>
              </a:xfrm>
              <a:prstGeom prst="rect">
                <a:avLst/>
              </a:prstGeom>
              <a:solidFill>
                <a:srgbClr val="C93C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7" name="Shape 57"/>
              <p:cNvSpPr/>
              <p:nvPr/>
            </p:nvSpPr>
            <p:spPr>
              <a:xfrm>
                <a:off x="1905000" y="5988117"/>
                <a:ext cx="141300" cy="107999"/>
              </a:xfrm>
              <a:prstGeom prst="rect">
                <a:avLst/>
              </a:prstGeom>
              <a:solidFill>
                <a:srgbClr val="C010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58" name="Shape 58"/>
            <p:cNvGrpSpPr/>
            <p:nvPr/>
          </p:nvGrpSpPr>
          <p:grpSpPr>
            <a:xfrm>
              <a:off x="518031" y="978679"/>
              <a:ext cx="4572003" cy="2667394"/>
              <a:chOff x="518031" y="978679"/>
              <a:chExt cx="4572003" cy="2667394"/>
            </a:xfrm>
          </p:grpSpPr>
          <p:sp>
            <p:nvSpPr>
              <p:cNvPr id="59" name="Shape 59"/>
              <p:cNvSpPr/>
              <p:nvPr/>
            </p:nvSpPr>
            <p:spPr>
              <a:xfrm>
                <a:off x="3295650" y="978679"/>
                <a:ext cx="1143000" cy="263100"/>
              </a:xfrm>
              <a:prstGeom prst="rect">
                <a:avLst/>
              </a:prstGeom>
              <a:solidFill>
                <a:srgbClr val="A100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0" name="Shape 60"/>
              <p:cNvSpPr/>
              <p:nvPr/>
            </p:nvSpPr>
            <p:spPr>
              <a:xfrm>
                <a:off x="518031" y="1922792"/>
                <a:ext cx="4572003" cy="1723281"/>
              </a:xfrm>
              <a:custGeom>
                <a:avLst/>
                <a:gdLst/>
                <a:ahLst/>
                <a:cxnLst/>
                <a:rect l="0" t="0" r="0" b="0"/>
                <a:pathLst>
                  <a:path w="4127" h="1544" extrusionOk="0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61" name="Shape 61"/>
          <p:cNvSpPr txBox="1">
            <a:spLocks noGrp="1"/>
          </p:cNvSpPr>
          <p:nvPr>
            <p:ph type="ctrTitle"/>
          </p:nvPr>
        </p:nvSpPr>
        <p:spPr>
          <a:xfrm>
            <a:off x="1900200" y="613350"/>
            <a:ext cx="5343600" cy="823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/>
              <a:buNone/>
              <a:defRPr sz="2600"/>
            </a:lvl2pPr>
            <a:lvl3pPr marL="0" marR="0" lvl="2" indent="0" algn="l" rtl="0">
              <a:spcBef>
                <a:spcPts val="0"/>
              </a:spcBef>
              <a:buSzPct val="100000"/>
              <a:defRPr sz="2600"/>
            </a:lvl3pPr>
            <a:lvl4pPr marL="0" marR="0" lvl="3" indent="0" algn="l" rtl="0">
              <a:spcBef>
                <a:spcPts val="0"/>
              </a:spcBef>
              <a:buSzPct val="100000"/>
              <a:defRPr sz="2600"/>
            </a:lvl4pPr>
            <a:lvl5pPr marL="0" marR="0" lvl="4" indent="0" algn="l" rtl="0">
              <a:spcBef>
                <a:spcPts val="0"/>
              </a:spcBef>
              <a:buSzPct val="100000"/>
              <a:defRPr sz="2600"/>
            </a:lvl5pPr>
            <a:lvl6pPr marL="0" marR="0" lvl="5" indent="0" algn="l" rtl="0">
              <a:spcBef>
                <a:spcPts val="0"/>
              </a:spcBef>
              <a:buSzPct val="100000"/>
              <a:defRPr sz="2600"/>
            </a:lvl6pPr>
            <a:lvl7pPr marL="0" marR="0" lvl="6" indent="0" algn="l" rtl="0">
              <a:spcBef>
                <a:spcPts val="0"/>
              </a:spcBef>
              <a:buSzPct val="100000"/>
              <a:defRPr sz="2600"/>
            </a:lvl7pPr>
            <a:lvl8pPr marL="0" marR="0" lvl="7" indent="0" algn="l" rtl="0">
              <a:spcBef>
                <a:spcPts val="0"/>
              </a:spcBef>
              <a:buSzPct val="100000"/>
              <a:defRPr sz="2600"/>
            </a:lvl8pPr>
            <a:lvl9pPr marL="0" marR="0" lvl="8" indent="0" algn="l" rtl="0">
              <a:spcBef>
                <a:spcPts val="0"/>
              </a:spcBef>
              <a:buSzPct val="100000"/>
              <a:defRPr sz="2600"/>
            </a:lvl9pPr>
          </a:lstStyle>
          <a:p>
            <a:endParaRPr/>
          </a:p>
        </p:txBody>
      </p:sp>
      <p:sp>
        <p:nvSpPr>
          <p:cNvPr id="62" name="Shape 62"/>
          <p:cNvSpPr txBox="1">
            <a:spLocks noGrp="1"/>
          </p:cNvSpPr>
          <p:nvPr>
            <p:ph type="subTitle" idx="1"/>
          </p:nvPr>
        </p:nvSpPr>
        <p:spPr>
          <a:xfrm>
            <a:off x="1895475" y="1485900"/>
            <a:ext cx="5343600" cy="823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2pPr>
            <a:lvl3pPr marL="4572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3pPr>
            <a:lvl4pPr marL="9144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4pPr>
            <a:lvl5pPr marL="13716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5pPr>
            <a:lvl6pPr marL="18288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6pPr>
            <a:lvl7pPr marL="22860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lt1"/>
              </a:buClr>
              <a:buSzPct val="100000"/>
              <a:buFont typeface="Georgia"/>
              <a:buNone/>
              <a:defRPr sz="2600"/>
            </a:lvl7pPr>
            <a:lvl8pPr marL="27432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lt1"/>
              </a:buClr>
              <a:buSzPct val="100000"/>
              <a:buFont typeface="Georgia"/>
              <a:buNone/>
              <a:defRPr sz="2600"/>
            </a:lvl8pPr>
            <a:lvl9pPr marL="32004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lt1"/>
              </a:buClr>
              <a:buSzPct val="100000"/>
              <a:buFont typeface="Arial"/>
              <a:buNone/>
              <a:defRPr sz="2600"/>
            </a:lvl9pPr>
          </a:lstStyle>
          <a:p>
            <a:endParaRPr/>
          </a:p>
        </p:txBody>
      </p:sp>
      <p:cxnSp>
        <p:nvCxnSpPr>
          <p:cNvPr id="63" name="Shape 63"/>
          <p:cNvCxnSpPr/>
          <p:nvPr/>
        </p:nvCxnSpPr>
        <p:spPr>
          <a:xfrm rot="10800000" flipH="1">
            <a:off x="1656875" y="457216"/>
            <a:ext cx="6934799" cy="137099"/>
          </a:xfrm>
          <a:prstGeom prst="bentConnector3">
            <a:avLst>
              <a:gd name="adj1" fmla="val 208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64" name="Shape 64"/>
          <p:cNvSpPr txBox="1"/>
          <p:nvPr/>
        </p:nvSpPr>
        <p:spPr>
          <a:xfrm>
            <a:off x="1818000" y="217800"/>
            <a:ext cx="1293599" cy="3083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www.pwc</a:t>
            </a:r>
            <a:r>
              <a:rPr lang="en-GB" sz="800" dirty="0">
                <a:latin typeface="Georgia" panose="02040502050405020303" pitchFamily="18" charset="0"/>
              </a:rPr>
              <a:t>.com</a:t>
            </a:r>
          </a:p>
        </p:txBody>
      </p:sp>
    </p:spTree>
    <p:custDataLst>
      <p:tags r:id="rId1"/>
    </p:custData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point">
    <p:bg>
      <p:bgPr>
        <a:solidFill>
          <a:schemeClr val="lt1"/>
        </a:solidFill>
        <a:effectLst/>
      </p:bgPr>
    </p:bg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3" name="Shape 173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-44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74" name="Shape 174"/>
          <p:cNvSpPr txBox="1">
            <a:spLocks noGrp="1"/>
          </p:cNvSpPr>
          <p:nvPr>
            <p:ph type="title"/>
          </p:nvPr>
        </p:nvSpPr>
        <p:spPr>
          <a:xfrm>
            <a:off x="586224" y="514725"/>
            <a:ext cx="80054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75" name="Shape 175"/>
          <p:cNvSpPr txBox="1">
            <a:spLocks noGrp="1"/>
          </p:cNvSpPr>
          <p:nvPr>
            <p:ph type="body" idx="1"/>
          </p:nvPr>
        </p:nvSpPr>
        <p:spPr>
          <a:xfrm>
            <a:off x="549450" y="1200150"/>
            <a:ext cx="8077199" cy="3314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76" name="Shape 176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77" name="Shape 177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point: Colour">
    <p:bg>
      <p:bgPr>
        <a:solidFill>
          <a:srgbClr val="A32020"/>
        </a:solidFill>
        <a:effectLst/>
      </p:bgPr>
    </p:bg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Shape 179"/>
          <p:cNvSpPr txBox="1">
            <a:spLocks noGrp="1"/>
          </p:cNvSpPr>
          <p:nvPr>
            <p:ph type="title"/>
          </p:nvPr>
        </p:nvSpPr>
        <p:spPr>
          <a:xfrm>
            <a:off x="618525" y="529650"/>
            <a:ext cx="7789200" cy="3695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80" name="Shape 180"/>
          <p:cNvSpPr txBox="1">
            <a:spLocks noGrp="1"/>
          </p:cNvSpPr>
          <p:nvPr>
            <p:ph type="body" idx="1"/>
          </p:nvPr>
        </p:nvSpPr>
        <p:spPr>
          <a:xfrm>
            <a:off x="594700" y="1257300"/>
            <a:ext cx="7863600" cy="3314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lnSpc>
                <a:spcPct val="1125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defRPr>
                <a:solidFill>
                  <a:srgbClr val="FFFFFF"/>
                </a:solidFill>
              </a:defRPr>
            </a:lvl1pPr>
            <a:lvl2pPr marL="444500" lvl="1" indent="-266700" rtl="0">
              <a:lnSpc>
                <a:spcPct val="1125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 marL="714375" lvl="2" indent="-269875" rtl="0">
              <a:lnSpc>
                <a:spcPct val="1125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 marL="984250" lvl="3" indent="-273050" rtl="0">
              <a:lnSpc>
                <a:spcPct val="1125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  <a:lvl5pPr marL="1341437" lvl="4" indent="-274637" rtl="0">
              <a:lnSpc>
                <a:spcPct val="1125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defRPr>
                <a:solidFill>
                  <a:srgbClr val="FFFFFF"/>
                </a:solidFill>
              </a:defRPr>
            </a:lvl5pPr>
            <a:lvl6pPr marL="1611312" lvl="5" indent="-277812" rtl="0">
              <a:lnSpc>
                <a:spcPct val="128571"/>
              </a:lnSpc>
              <a:spcBef>
                <a:spcPts val="0"/>
              </a:spcBef>
              <a:spcAft>
                <a:spcPts val="60"/>
              </a:spcAft>
              <a:buClr>
                <a:srgbClr val="FFFFFF"/>
              </a:buClr>
              <a:buFont typeface="Arial"/>
              <a:buNone/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7pPr>
            <a:lvl8pPr lvl="7" rtl="0">
              <a:lnSpc>
                <a:spcPct val="128571"/>
              </a:lnSpc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cxnSp>
        <p:nvCxnSpPr>
          <p:cNvPr id="181" name="Shape 181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44"/>
            </a:avLst>
          </a:prstGeom>
          <a:noFill/>
          <a:ln w="19050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82" name="Shape 182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FFFFFF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83" name="Shape 183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FFFFFF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>
                <a:solidFill>
                  <a:srgbClr val="FFFFFF"/>
                </a:solidFill>
              </a:rPr>
              <a:pPr algn="r">
                <a:buClr>
                  <a:srgbClr val="FFFFFF"/>
                </a:buClr>
                <a:buSzPct val="25000"/>
                <a:buFont typeface="Arial"/>
                <a:buNone/>
              </a:pPr>
              <a:t>‹#›</a:t>
            </a:fld>
            <a:endParaRPr lang="en-GB" sz="800" dirty="0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tatement">
    <p:spTree>
      <p:nvGrpSpPr>
        <p:cNvPr id="1" name="Shape 1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5" name="Shape 185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132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86" name="Shape 186"/>
          <p:cNvSpPr txBox="1">
            <a:spLocks noGrp="1"/>
          </p:cNvSpPr>
          <p:nvPr>
            <p:ph type="title"/>
          </p:nvPr>
        </p:nvSpPr>
        <p:spPr>
          <a:xfrm>
            <a:off x="586231" y="514731"/>
            <a:ext cx="78359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87" name="Shape 187"/>
          <p:cNvSpPr txBox="1">
            <a:spLocks noGrp="1"/>
          </p:cNvSpPr>
          <p:nvPr>
            <p:ph type="body" idx="1"/>
          </p:nvPr>
        </p:nvSpPr>
        <p:spPr>
          <a:xfrm>
            <a:off x="586225" y="4711275"/>
            <a:ext cx="5263200" cy="248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508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­"/>
              <a:defRPr/>
            </a:lvl1pPr>
            <a:lvl2pPr marL="274320" marR="0" lvl="1" indent="-965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●"/>
              <a:defRPr/>
            </a:lvl2pPr>
            <a:lvl3pPr marL="548640" marR="0" lvl="2" indent="-1041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―"/>
              <a:defRPr/>
            </a:lvl3pPr>
            <a:lvl4pPr marL="822960" marR="0" lvl="3" indent="-990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○"/>
              <a:defRPr/>
            </a:lvl4pPr>
            <a:lvl5pPr marL="1097280" marR="0" lvl="4" indent="-1066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&gt;"/>
              <a:defRPr/>
            </a:lvl5pPr>
            <a:lvl6pPr marL="274320" marR="0" lvl="5" indent="-965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■"/>
              <a:defRPr/>
            </a:lvl6pPr>
            <a:lvl7pPr marL="548640" marR="0" lvl="6" indent="-1041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●"/>
              <a:defRPr/>
            </a:lvl7pPr>
            <a:lvl8pPr marL="822960" marR="0" lvl="7" indent="-990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○"/>
              <a:defRPr/>
            </a:lvl8pPr>
            <a:lvl9pPr marL="0" marR="0" lvl="8" indent="508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Arial"/>
              <a:buChar char="■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hree"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Shape 189"/>
          <p:cNvSpPr txBox="1">
            <a:spLocks noGrp="1"/>
          </p:cNvSpPr>
          <p:nvPr>
            <p:ph type="body" idx="1"/>
          </p:nvPr>
        </p:nvSpPr>
        <p:spPr>
          <a:xfrm>
            <a:off x="609600" y="1257300"/>
            <a:ext cx="2590800" cy="3314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sp>
        <p:nvSpPr>
          <p:cNvPr id="190" name="Shape 190"/>
          <p:cNvSpPr txBox="1">
            <a:spLocks noGrp="1"/>
          </p:cNvSpPr>
          <p:nvPr>
            <p:ph type="body" idx="2"/>
          </p:nvPr>
        </p:nvSpPr>
        <p:spPr>
          <a:xfrm>
            <a:off x="3200400" y="1257300"/>
            <a:ext cx="2666998" cy="3314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sp>
        <p:nvSpPr>
          <p:cNvPr id="191" name="Shape 191"/>
          <p:cNvSpPr txBox="1">
            <a:spLocks noGrp="1"/>
          </p:cNvSpPr>
          <p:nvPr>
            <p:ph type="body" idx="3"/>
          </p:nvPr>
        </p:nvSpPr>
        <p:spPr>
          <a:xfrm>
            <a:off x="5867400" y="1257300"/>
            <a:ext cx="2666998" cy="3314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cxnSp>
        <p:nvCxnSpPr>
          <p:cNvPr id="192" name="Shape 192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44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93" name="Shape 193"/>
          <p:cNvSpPr txBox="1">
            <a:spLocks noGrp="1"/>
          </p:cNvSpPr>
          <p:nvPr>
            <p:ph type="title"/>
          </p:nvPr>
        </p:nvSpPr>
        <p:spPr>
          <a:xfrm>
            <a:off x="586231" y="514731"/>
            <a:ext cx="78359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94" name="Shape 194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95" name="Shape 195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One with Impact"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Shape 197"/>
          <p:cNvSpPr txBox="1">
            <a:spLocks noGrp="1"/>
          </p:cNvSpPr>
          <p:nvPr>
            <p:ph type="title"/>
          </p:nvPr>
        </p:nvSpPr>
        <p:spPr>
          <a:xfrm>
            <a:off x="3314225" y="514350"/>
            <a:ext cx="5296499" cy="68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98" name="Shape 198"/>
          <p:cNvSpPr txBox="1">
            <a:spLocks noGrp="1"/>
          </p:cNvSpPr>
          <p:nvPr>
            <p:ph type="subTitle" idx="1"/>
          </p:nvPr>
        </p:nvSpPr>
        <p:spPr>
          <a:xfrm>
            <a:off x="705975" y="1588425"/>
            <a:ext cx="2708699" cy="2085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1pPr>
            <a:lvl2pPr marL="274320" marR="0" lvl="1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2pPr>
            <a:lvl3pPr marL="548640" marR="0" lvl="2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3pPr>
            <a:lvl4pPr marL="822960" marR="0" lvl="3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4pPr>
            <a:lvl5pPr marL="1097280" marR="0" lvl="4" indent="-15748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5pPr>
            <a:lvl6pPr marL="274320" marR="0" lvl="5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6pPr>
            <a:lvl7pPr marL="548640" marR="0" lvl="6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7pPr>
            <a:lvl8pPr marL="822960" marR="0" lvl="7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None/>
              <a:defRPr/>
            </a:lvl9pPr>
          </a:lstStyle>
          <a:p>
            <a:endParaRPr/>
          </a:p>
        </p:txBody>
      </p:sp>
      <p:sp>
        <p:nvSpPr>
          <p:cNvPr id="199" name="Shape 199"/>
          <p:cNvSpPr txBox="1">
            <a:spLocks noGrp="1"/>
          </p:cNvSpPr>
          <p:nvPr>
            <p:ph type="body" idx="2"/>
          </p:nvPr>
        </p:nvSpPr>
        <p:spPr>
          <a:xfrm>
            <a:off x="3414675" y="1553437"/>
            <a:ext cx="5195998" cy="28553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cxnSp>
        <p:nvCxnSpPr>
          <p:cNvPr id="200" name="Shape 200"/>
          <p:cNvCxnSpPr/>
          <p:nvPr/>
        </p:nvCxnSpPr>
        <p:spPr>
          <a:xfrm rot="10800000" flipH="1">
            <a:off x="3083225" y="457216"/>
            <a:ext cx="5508299" cy="137099"/>
          </a:xfrm>
          <a:prstGeom prst="bentConnector3">
            <a:avLst>
              <a:gd name="adj1" fmla="val 0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01" name="Shape 201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202" name="Shape 202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no Footer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484910" y="756397"/>
            <a:ext cx="8174182" cy="60511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smtClean="0"/>
              <a:t>Click to edit Master title style</a:t>
            </a:r>
            <a:endParaRPr lang="en-GB" noProof="0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/>
          </p:nvPr>
        </p:nvSpPr>
        <p:spPr>
          <a:xfrm>
            <a:off x="484909" y="1462369"/>
            <a:ext cx="8174182" cy="2924735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</p:txBody>
      </p:sp>
      <p:cxnSp>
        <p:nvCxnSpPr>
          <p:cNvPr id="25" name="Shape 24"/>
          <p:cNvCxnSpPr/>
          <p:nvPr/>
        </p:nvCxnSpPr>
        <p:spPr>
          <a:xfrm flipV="1">
            <a:off x="346365" y="705972"/>
            <a:ext cx="8312729" cy="114971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35092" y="4942914"/>
            <a:ext cx="1524000" cy="10085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68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EBD7F86-1881-4698-8703-FB80B080099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383822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Client Logo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Shape 66"/>
          <p:cNvGrpSpPr/>
          <p:nvPr/>
        </p:nvGrpSpPr>
        <p:grpSpPr>
          <a:xfrm>
            <a:off x="1753348" y="0"/>
            <a:ext cx="7391808" cy="4632146"/>
            <a:chOff x="19140487" y="13674"/>
            <a:chExt cx="7443915" cy="6145876"/>
          </a:xfrm>
        </p:grpSpPr>
        <p:sp>
          <p:nvSpPr>
            <p:cNvPr id="67" name="Shape 67"/>
            <p:cNvSpPr/>
            <p:nvPr/>
          </p:nvSpPr>
          <p:spPr>
            <a:xfrm>
              <a:off x="19140487" y="4188798"/>
              <a:ext cx="2302200" cy="1970699"/>
            </a:xfrm>
            <a:prstGeom prst="rect">
              <a:avLst/>
            </a:prstGeom>
            <a:solidFill>
              <a:srgbClr val="9A1702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68" name="Shape 68"/>
            <p:cNvSpPr/>
            <p:nvPr/>
          </p:nvSpPr>
          <p:spPr>
            <a:xfrm>
              <a:off x="25663403" y="4032250"/>
              <a:ext cx="921000" cy="2127300"/>
            </a:xfrm>
            <a:prstGeom prst="rect">
              <a:avLst/>
            </a:prstGeom>
            <a:solidFill>
              <a:srgbClr val="F3BE26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69" name="Shape 69"/>
            <p:cNvSpPr/>
            <p:nvPr/>
          </p:nvSpPr>
          <p:spPr>
            <a:xfrm>
              <a:off x="25049481" y="2899475"/>
              <a:ext cx="734700" cy="1289400"/>
            </a:xfrm>
            <a:prstGeom prst="rect">
              <a:avLst/>
            </a:prstGeom>
            <a:solidFill>
              <a:srgbClr val="F3BC87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0" name="Shape 70"/>
            <p:cNvSpPr/>
            <p:nvPr/>
          </p:nvSpPr>
          <p:spPr>
            <a:xfrm>
              <a:off x="25049481" y="4032250"/>
              <a:ext cx="734700" cy="2127300"/>
            </a:xfrm>
            <a:prstGeom prst="rect">
              <a:avLst/>
            </a:prstGeom>
            <a:solidFill>
              <a:srgbClr val="E88C14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1" name="Shape 71"/>
            <p:cNvSpPr/>
            <p:nvPr/>
          </p:nvSpPr>
          <p:spPr>
            <a:xfrm>
              <a:off x="24665779" y="706364"/>
              <a:ext cx="476998" cy="2263799"/>
            </a:xfrm>
            <a:prstGeom prst="rect">
              <a:avLst/>
            </a:prstGeom>
            <a:solidFill>
              <a:srgbClr val="E669A2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2" name="Shape 72"/>
            <p:cNvSpPr/>
            <p:nvPr/>
          </p:nvSpPr>
          <p:spPr>
            <a:xfrm>
              <a:off x="24665779" y="2899476"/>
              <a:ext cx="476998" cy="1289400"/>
            </a:xfrm>
            <a:prstGeom prst="rect">
              <a:avLst/>
            </a:prstGeom>
            <a:solidFill>
              <a:srgbClr val="DB4D56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3" name="Shape 73"/>
            <p:cNvSpPr/>
            <p:nvPr/>
          </p:nvSpPr>
          <p:spPr>
            <a:xfrm>
              <a:off x="24665779" y="4032250"/>
              <a:ext cx="476998" cy="2127300"/>
            </a:xfrm>
            <a:prstGeom prst="rect">
              <a:avLst/>
            </a:prstGeom>
            <a:solidFill>
              <a:srgbClr val="D13A0D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4" name="Shape 74"/>
            <p:cNvSpPr/>
            <p:nvPr/>
          </p:nvSpPr>
          <p:spPr>
            <a:xfrm>
              <a:off x="19140487" y="669925"/>
              <a:ext cx="5662500" cy="2300399"/>
            </a:xfrm>
            <a:prstGeom prst="rect">
              <a:avLst/>
            </a:prstGeom>
            <a:solidFill>
              <a:srgbClr val="D74021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5" name="Shape 75"/>
            <p:cNvSpPr/>
            <p:nvPr/>
          </p:nvSpPr>
          <p:spPr>
            <a:xfrm>
              <a:off x="19140487" y="2899476"/>
              <a:ext cx="5662500" cy="1289400"/>
            </a:xfrm>
            <a:prstGeom prst="rect">
              <a:avLst/>
            </a:prstGeom>
            <a:solidFill>
              <a:srgbClr val="CD2F12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6" name="Shape 76"/>
            <p:cNvSpPr/>
            <p:nvPr/>
          </p:nvSpPr>
          <p:spPr>
            <a:xfrm>
              <a:off x="19140487" y="4032250"/>
              <a:ext cx="5662612" cy="2127250"/>
            </a:xfrm>
            <a:custGeom>
              <a:avLst/>
              <a:gdLst/>
              <a:ahLst/>
              <a:cxnLst/>
              <a:rect l="0" t="0" r="0" b="0"/>
              <a:pathLst>
                <a:path w="3567" h="1340" extrusionOk="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7" name="Shape 77"/>
            <p:cNvSpPr/>
            <p:nvPr/>
          </p:nvSpPr>
          <p:spPr>
            <a:xfrm>
              <a:off x="19140487" y="13674"/>
              <a:ext cx="5662500" cy="692700"/>
            </a:xfrm>
            <a:prstGeom prst="rect">
              <a:avLst/>
            </a:prstGeom>
            <a:solidFill>
              <a:srgbClr val="EE9C34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78" name="Shape 78"/>
          <p:cNvGrpSpPr/>
          <p:nvPr/>
        </p:nvGrpSpPr>
        <p:grpSpPr>
          <a:xfrm>
            <a:off x="488959" y="2187419"/>
            <a:ext cx="1209898" cy="129835"/>
            <a:chOff x="488939" y="2521684"/>
            <a:chExt cx="1209898" cy="151200"/>
          </a:xfrm>
        </p:grpSpPr>
        <p:cxnSp>
          <p:nvCxnSpPr>
            <p:cNvPr id="79" name="Shape 79"/>
            <p:cNvCxnSpPr/>
            <p:nvPr/>
          </p:nvCxnSpPr>
          <p:spPr>
            <a:xfrm rot="10800000">
              <a:off x="488939" y="2521684"/>
              <a:ext cx="1209898" cy="0"/>
            </a:xfrm>
            <a:prstGeom prst="straightConnector1">
              <a:avLst/>
            </a:prstGeom>
            <a:noFill/>
            <a:ln w="12700" cap="flat" cmpd="sng">
              <a:solidFill>
                <a:srgbClr val="000000"/>
              </a:solidFill>
              <a:prstDash val="dot"/>
              <a:round/>
              <a:headEnd type="none" w="med" len="med"/>
              <a:tailEnd type="none" w="med" len="med"/>
            </a:ln>
          </p:spPr>
        </p:cxnSp>
        <p:cxnSp>
          <p:nvCxnSpPr>
            <p:cNvPr id="80" name="Shape 80"/>
            <p:cNvCxnSpPr/>
            <p:nvPr/>
          </p:nvCxnSpPr>
          <p:spPr>
            <a:xfrm rot="5400000">
              <a:off x="413487" y="2597284"/>
              <a:ext cx="151200" cy="0"/>
            </a:xfrm>
            <a:prstGeom prst="straightConnector1">
              <a:avLst/>
            </a:prstGeom>
            <a:noFill/>
            <a:ln w="12700" cap="flat" cmpd="sng">
              <a:solidFill>
                <a:schemeClr val="dk1"/>
              </a:solidFill>
              <a:prstDash val="dot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1" name="Shape 81"/>
          <p:cNvGrpSpPr/>
          <p:nvPr/>
        </p:nvGrpSpPr>
        <p:grpSpPr>
          <a:xfrm>
            <a:off x="1210126" y="4628244"/>
            <a:ext cx="636880" cy="400109"/>
            <a:chOff x="518031" y="978679"/>
            <a:chExt cx="4572003" cy="2667393"/>
          </a:xfrm>
        </p:grpSpPr>
        <p:sp>
          <p:nvSpPr>
            <p:cNvPr id="82" name="Shape 82"/>
            <p:cNvSpPr/>
            <p:nvPr/>
          </p:nvSpPr>
          <p:spPr>
            <a:xfrm>
              <a:off x="3295650" y="978679"/>
              <a:ext cx="1143000" cy="263100"/>
            </a:xfrm>
            <a:prstGeom prst="rect">
              <a:avLst/>
            </a:prstGeom>
            <a:solidFill>
              <a:srgbClr val="A1000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83" name="Shape 83"/>
            <p:cNvSpPr/>
            <p:nvPr/>
          </p:nvSpPr>
          <p:spPr>
            <a:xfrm>
              <a:off x="518031" y="1922792"/>
              <a:ext cx="4572003" cy="1723280"/>
            </a:xfrm>
            <a:custGeom>
              <a:avLst/>
              <a:gdLst/>
              <a:ahLst/>
              <a:cxnLst/>
              <a:rect l="0" t="0" r="0" b="0"/>
              <a:pathLst>
                <a:path w="4127" h="1544" extrusionOk="0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84" name="Shape 84"/>
          <p:cNvSpPr txBox="1"/>
          <p:nvPr/>
        </p:nvSpPr>
        <p:spPr>
          <a:xfrm>
            <a:off x="1818000" y="217800"/>
            <a:ext cx="1293599" cy="3083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FFFFFF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www.pwc</a:t>
            </a:r>
            <a:r>
              <a:rPr lang="en-GB" sz="800" dirty="0">
                <a:solidFill>
                  <a:srgbClr val="FFFFFF"/>
                </a:solidFill>
                <a:latin typeface="Georgia" panose="02040502050405020303" pitchFamily="18" charset="0"/>
              </a:rPr>
              <a:t>.com</a:t>
            </a:r>
          </a:p>
        </p:txBody>
      </p:sp>
      <p:sp>
        <p:nvSpPr>
          <p:cNvPr id="85" name="Shape 85"/>
          <p:cNvSpPr txBox="1">
            <a:spLocks noGrp="1"/>
          </p:cNvSpPr>
          <p:nvPr>
            <p:ph type="ctrTitle"/>
          </p:nvPr>
        </p:nvSpPr>
        <p:spPr>
          <a:xfrm>
            <a:off x="1819275" y="526112"/>
            <a:ext cx="5485200" cy="7884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0" marR="0" lvl="2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3pPr>
            <a:lvl4pPr marL="0" marR="0" lvl="3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4pPr>
            <a:lvl5pPr marL="0" marR="0" lvl="4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5pPr>
            <a:lvl6pPr marL="0" marR="0" lvl="5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6pPr>
            <a:lvl7pPr marL="0" marR="0" lvl="6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7pPr>
            <a:lvl8pPr marL="0" marR="0" lvl="7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8pPr>
            <a:lvl9pPr marL="0" marR="0" lvl="8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6" name="Shape 86"/>
          <p:cNvSpPr txBox="1">
            <a:spLocks noGrp="1"/>
          </p:cNvSpPr>
          <p:nvPr>
            <p:ph type="subTitle" idx="1"/>
          </p:nvPr>
        </p:nvSpPr>
        <p:spPr>
          <a:xfrm>
            <a:off x="1819275" y="1360794"/>
            <a:ext cx="5485200" cy="68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4572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3pPr>
            <a:lvl4pPr marL="9144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4pPr>
            <a:lvl5pPr marL="13716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5pPr>
            <a:lvl6pPr marL="18288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6pPr>
            <a:lvl7pPr marL="22860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7pPr>
            <a:lvl8pPr marL="27432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8pPr>
            <a:lvl9pPr marL="32004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  <p:custDataLst>
      <p:tags r:id="rId1"/>
    </p:custData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Picture"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" name="Shape 88"/>
          <p:cNvGrpSpPr/>
          <p:nvPr/>
        </p:nvGrpSpPr>
        <p:grpSpPr>
          <a:xfrm>
            <a:off x="1753348" y="0"/>
            <a:ext cx="7391808" cy="4632146"/>
            <a:chOff x="19140487" y="13674"/>
            <a:chExt cx="7443915" cy="6145876"/>
          </a:xfrm>
        </p:grpSpPr>
        <p:sp>
          <p:nvSpPr>
            <p:cNvPr id="89" name="Shape 89"/>
            <p:cNvSpPr/>
            <p:nvPr/>
          </p:nvSpPr>
          <p:spPr>
            <a:xfrm>
              <a:off x="19140487" y="4188798"/>
              <a:ext cx="2302200" cy="1970699"/>
            </a:xfrm>
            <a:prstGeom prst="rect">
              <a:avLst/>
            </a:prstGeom>
            <a:solidFill>
              <a:srgbClr val="9A1702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0" name="Shape 90"/>
            <p:cNvSpPr/>
            <p:nvPr/>
          </p:nvSpPr>
          <p:spPr>
            <a:xfrm>
              <a:off x="25663403" y="4032250"/>
              <a:ext cx="921000" cy="2127300"/>
            </a:xfrm>
            <a:prstGeom prst="rect">
              <a:avLst/>
            </a:prstGeom>
            <a:solidFill>
              <a:srgbClr val="F3BE26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1" name="Shape 91"/>
            <p:cNvSpPr/>
            <p:nvPr/>
          </p:nvSpPr>
          <p:spPr>
            <a:xfrm>
              <a:off x="25049481" y="2899475"/>
              <a:ext cx="734700" cy="1289400"/>
            </a:xfrm>
            <a:prstGeom prst="rect">
              <a:avLst/>
            </a:prstGeom>
            <a:solidFill>
              <a:srgbClr val="F3BC87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2" name="Shape 92"/>
            <p:cNvSpPr/>
            <p:nvPr/>
          </p:nvSpPr>
          <p:spPr>
            <a:xfrm>
              <a:off x="25049481" y="4032250"/>
              <a:ext cx="734700" cy="2127300"/>
            </a:xfrm>
            <a:prstGeom prst="rect">
              <a:avLst/>
            </a:prstGeom>
            <a:solidFill>
              <a:srgbClr val="E88C14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3" name="Shape 93"/>
            <p:cNvSpPr/>
            <p:nvPr/>
          </p:nvSpPr>
          <p:spPr>
            <a:xfrm>
              <a:off x="24665779" y="706364"/>
              <a:ext cx="476998" cy="2263799"/>
            </a:xfrm>
            <a:prstGeom prst="rect">
              <a:avLst/>
            </a:prstGeom>
            <a:solidFill>
              <a:srgbClr val="E669A2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4" name="Shape 94"/>
            <p:cNvSpPr/>
            <p:nvPr/>
          </p:nvSpPr>
          <p:spPr>
            <a:xfrm>
              <a:off x="24665779" y="2899476"/>
              <a:ext cx="476998" cy="1289400"/>
            </a:xfrm>
            <a:prstGeom prst="rect">
              <a:avLst/>
            </a:prstGeom>
            <a:solidFill>
              <a:srgbClr val="DB4D56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5" name="Shape 95"/>
            <p:cNvSpPr/>
            <p:nvPr/>
          </p:nvSpPr>
          <p:spPr>
            <a:xfrm>
              <a:off x="24665779" y="4032250"/>
              <a:ext cx="476998" cy="2127300"/>
            </a:xfrm>
            <a:prstGeom prst="rect">
              <a:avLst/>
            </a:prstGeom>
            <a:solidFill>
              <a:srgbClr val="D13A0D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6" name="Shape 96"/>
            <p:cNvSpPr/>
            <p:nvPr/>
          </p:nvSpPr>
          <p:spPr>
            <a:xfrm>
              <a:off x="19140487" y="669925"/>
              <a:ext cx="5662500" cy="2300399"/>
            </a:xfrm>
            <a:prstGeom prst="rect">
              <a:avLst/>
            </a:prstGeom>
            <a:solidFill>
              <a:srgbClr val="D74021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7" name="Shape 97"/>
            <p:cNvSpPr/>
            <p:nvPr/>
          </p:nvSpPr>
          <p:spPr>
            <a:xfrm>
              <a:off x="19140487" y="2899476"/>
              <a:ext cx="5662500" cy="1289400"/>
            </a:xfrm>
            <a:prstGeom prst="rect">
              <a:avLst/>
            </a:prstGeom>
            <a:solidFill>
              <a:srgbClr val="CD2F12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8" name="Shape 98"/>
            <p:cNvSpPr/>
            <p:nvPr/>
          </p:nvSpPr>
          <p:spPr>
            <a:xfrm>
              <a:off x="19140487" y="4032250"/>
              <a:ext cx="5662612" cy="2127250"/>
            </a:xfrm>
            <a:custGeom>
              <a:avLst/>
              <a:gdLst/>
              <a:ahLst/>
              <a:cxnLst/>
              <a:rect l="0" t="0" r="0" b="0"/>
              <a:pathLst>
                <a:path w="3567" h="1340" extrusionOk="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9" name="Shape 99"/>
            <p:cNvSpPr/>
            <p:nvPr/>
          </p:nvSpPr>
          <p:spPr>
            <a:xfrm>
              <a:off x="19140487" y="13674"/>
              <a:ext cx="5662500" cy="692700"/>
            </a:xfrm>
            <a:prstGeom prst="rect">
              <a:avLst/>
            </a:prstGeom>
            <a:solidFill>
              <a:srgbClr val="EE9C34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0" name="Shape 100"/>
          <p:cNvGrpSpPr/>
          <p:nvPr/>
        </p:nvGrpSpPr>
        <p:grpSpPr>
          <a:xfrm>
            <a:off x="1210126" y="4628244"/>
            <a:ext cx="636880" cy="400109"/>
            <a:chOff x="518031" y="978679"/>
            <a:chExt cx="4572003" cy="2667393"/>
          </a:xfrm>
        </p:grpSpPr>
        <p:sp>
          <p:nvSpPr>
            <p:cNvPr id="101" name="Shape 101"/>
            <p:cNvSpPr/>
            <p:nvPr/>
          </p:nvSpPr>
          <p:spPr>
            <a:xfrm>
              <a:off x="3295650" y="978679"/>
              <a:ext cx="1143000" cy="263100"/>
            </a:xfrm>
            <a:prstGeom prst="rect">
              <a:avLst/>
            </a:prstGeom>
            <a:solidFill>
              <a:srgbClr val="A1000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102" name="Shape 102"/>
            <p:cNvSpPr/>
            <p:nvPr/>
          </p:nvSpPr>
          <p:spPr>
            <a:xfrm>
              <a:off x="518031" y="1922792"/>
              <a:ext cx="4572003" cy="1723280"/>
            </a:xfrm>
            <a:custGeom>
              <a:avLst/>
              <a:gdLst/>
              <a:ahLst/>
              <a:cxnLst/>
              <a:rect l="0" t="0" r="0" b="0"/>
              <a:pathLst>
                <a:path w="4127" h="1544" extrusionOk="0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3" name="Shape 103"/>
          <p:cNvSpPr txBox="1"/>
          <p:nvPr/>
        </p:nvSpPr>
        <p:spPr>
          <a:xfrm>
            <a:off x="1818000" y="217800"/>
            <a:ext cx="1293599" cy="3083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FFFFFF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www.pwc</a:t>
            </a:r>
            <a:r>
              <a:rPr lang="en-GB" sz="800" dirty="0">
                <a:solidFill>
                  <a:srgbClr val="FFFFFF"/>
                </a:solidFill>
                <a:latin typeface="Georgia" panose="02040502050405020303" pitchFamily="18" charset="0"/>
              </a:rPr>
              <a:t>.com</a:t>
            </a:r>
          </a:p>
        </p:txBody>
      </p:sp>
      <p:sp>
        <p:nvSpPr>
          <p:cNvPr id="104" name="Shape 104"/>
          <p:cNvSpPr txBox="1">
            <a:spLocks noGrp="1"/>
          </p:cNvSpPr>
          <p:nvPr>
            <p:ph type="ctrTitle"/>
          </p:nvPr>
        </p:nvSpPr>
        <p:spPr>
          <a:xfrm>
            <a:off x="1819275" y="526112"/>
            <a:ext cx="5485200" cy="7884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0" marR="0" lvl="2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3pPr>
            <a:lvl4pPr marL="0" marR="0" lvl="3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4pPr>
            <a:lvl5pPr marL="0" marR="0" lvl="4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5pPr>
            <a:lvl6pPr marL="0" marR="0" lvl="5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6pPr>
            <a:lvl7pPr marL="0" marR="0" lvl="6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7pPr>
            <a:lvl8pPr marL="0" marR="0" lvl="7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8pPr>
            <a:lvl9pPr marL="0" marR="0" lvl="8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05" name="Shape 105"/>
          <p:cNvSpPr txBox="1">
            <a:spLocks noGrp="1"/>
          </p:cNvSpPr>
          <p:nvPr>
            <p:ph type="subTitle" idx="1"/>
          </p:nvPr>
        </p:nvSpPr>
        <p:spPr>
          <a:xfrm>
            <a:off x="1819275" y="1360794"/>
            <a:ext cx="5485200" cy="68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4572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3pPr>
            <a:lvl4pPr marL="9144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4pPr>
            <a:lvl5pPr marL="13716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5pPr>
            <a:lvl6pPr marL="18288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6pPr>
            <a:lvl7pPr marL="22860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7pPr>
            <a:lvl8pPr marL="27432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8pPr>
            <a:lvl9pPr marL="32004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Colour"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Shape 107"/>
          <p:cNvSpPr/>
          <p:nvPr/>
        </p:nvSpPr>
        <p:spPr>
          <a:xfrm>
            <a:off x="7391400" y="514350"/>
            <a:ext cx="1752600" cy="4114800"/>
          </a:xfrm>
          <a:prstGeom prst="rect">
            <a:avLst/>
          </a:prstGeom>
          <a:solidFill>
            <a:srgbClr val="EA9696"/>
          </a:solidFill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800" b="0" i="0" u="none" strike="noStrike" cap="none" dirty="0">
              <a:solidFill>
                <a:schemeClr val="dk1"/>
              </a:solidFill>
              <a:latin typeface="Georgia" panose="02040502050405020303" pitchFamily="18" charset="0"/>
              <a:ea typeface="Arial"/>
              <a:cs typeface="Arial"/>
              <a:sym typeface="Arial"/>
            </a:endParaRPr>
          </a:p>
        </p:txBody>
      </p:sp>
      <p:sp>
        <p:nvSpPr>
          <p:cNvPr id="108" name="Shape 108"/>
          <p:cNvSpPr/>
          <p:nvPr/>
        </p:nvSpPr>
        <p:spPr>
          <a:xfrm>
            <a:off x="1752600" y="0"/>
            <a:ext cx="5638800" cy="514199"/>
          </a:xfrm>
          <a:prstGeom prst="rect">
            <a:avLst/>
          </a:prstGeom>
          <a:solidFill>
            <a:srgbClr val="E06161"/>
          </a:solidFill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800" b="0" i="0" u="none" strike="noStrike" cap="none" dirty="0">
              <a:solidFill>
                <a:schemeClr val="dk1"/>
              </a:solidFill>
              <a:latin typeface="Georgia" panose="02040502050405020303" pitchFamily="18" charset="0"/>
              <a:ea typeface="Arial"/>
              <a:cs typeface="Arial"/>
              <a:sym typeface="Arial"/>
            </a:endParaRPr>
          </a:p>
        </p:txBody>
      </p:sp>
      <p:sp>
        <p:nvSpPr>
          <p:cNvPr id="109" name="Shape 109"/>
          <p:cNvSpPr/>
          <p:nvPr/>
        </p:nvSpPr>
        <p:spPr>
          <a:xfrm>
            <a:off x="1752600" y="514350"/>
            <a:ext cx="5638800" cy="411480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800" b="0" i="0" u="none" strike="noStrike" cap="none" dirty="0">
              <a:solidFill>
                <a:schemeClr val="dk1"/>
              </a:solidFill>
              <a:latin typeface="Georgia" panose="02040502050405020303" pitchFamily="18" charset="0"/>
              <a:ea typeface="Arial"/>
              <a:cs typeface="Arial"/>
              <a:sym typeface="Arial"/>
            </a:endParaRPr>
          </a:p>
        </p:txBody>
      </p:sp>
      <p:grpSp>
        <p:nvGrpSpPr>
          <p:cNvPr id="110" name="Shape 110"/>
          <p:cNvGrpSpPr/>
          <p:nvPr/>
        </p:nvGrpSpPr>
        <p:grpSpPr>
          <a:xfrm>
            <a:off x="1210126" y="4628244"/>
            <a:ext cx="636880" cy="400109"/>
            <a:chOff x="518031" y="978679"/>
            <a:chExt cx="4572003" cy="2667393"/>
          </a:xfrm>
        </p:grpSpPr>
        <p:sp>
          <p:nvSpPr>
            <p:cNvPr id="111" name="Shape 111"/>
            <p:cNvSpPr/>
            <p:nvPr/>
          </p:nvSpPr>
          <p:spPr>
            <a:xfrm>
              <a:off x="3295650" y="978679"/>
              <a:ext cx="1143000" cy="263100"/>
            </a:xfrm>
            <a:prstGeom prst="rect">
              <a:avLst/>
            </a:prstGeom>
            <a:solidFill>
              <a:srgbClr val="A1000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112" name="Shape 112"/>
            <p:cNvSpPr/>
            <p:nvPr/>
          </p:nvSpPr>
          <p:spPr>
            <a:xfrm>
              <a:off x="518031" y="1922792"/>
              <a:ext cx="4572003" cy="1723280"/>
            </a:xfrm>
            <a:custGeom>
              <a:avLst/>
              <a:gdLst/>
              <a:ahLst/>
              <a:cxnLst/>
              <a:rect l="0" t="0" r="0" b="0"/>
              <a:pathLst>
                <a:path w="4127" h="1544" extrusionOk="0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13" name="Shape 113"/>
          <p:cNvSpPr txBox="1"/>
          <p:nvPr/>
        </p:nvSpPr>
        <p:spPr>
          <a:xfrm>
            <a:off x="1818000" y="217800"/>
            <a:ext cx="1293599" cy="3083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FFFFFF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www.pwc</a:t>
            </a:r>
            <a:r>
              <a:rPr lang="en-GB" sz="800" dirty="0">
                <a:solidFill>
                  <a:srgbClr val="FFFFFF"/>
                </a:solidFill>
                <a:latin typeface="Georgia" panose="02040502050405020303" pitchFamily="18" charset="0"/>
              </a:rPr>
              <a:t>.com</a:t>
            </a:r>
          </a:p>
        </p:txBody>
      </p:sp>
      <p:sp>
        <p:nvSpPr>
          <p:cNvPr id="114" name="Shape 114"/>
          <p:cNvSpPr txBox="1">
            <a:spLocks noGrp="1"/>
          </p:cNvSpPr>
          <p:nvPr>
            <p:ph type="ctrTitle"/>
          </p:nvPr>
        </p:nvSpPr>
        <p:spPr>
          <a:xfrm>
            <a:off x="1819275" y="526112"/>
            <a:ext cx="5485200" cy="7884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0" marR="0" lvl="2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3pPr>
            <a:lvl4pPr marL="0" marR="0" lvl="3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4pPr>
            <a:lvl5pPr marL="0" marR="0" lvl="4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5pPr>
            <a:lvl6pPr marL="0" marR="0" lvl="5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6pPr>
            <a:lvl7pPr marL="0" marR="0" lvl="6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7pPr>
            <a:lvl8pPr marL="0" marR="0" lvl="7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8pPr>
            <a:lvl9pPr marL="0" marR="0" lvl="8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15" name="Shape 115"/>
          <p:cNvSpPr txBox="1">
            <a:spLocks noGrp="1"/>
          </p:cNvSpPr>
          <p:nvPr>
            <p:ph type="subTitle" idx="1"/>
          </p:nvPr>
        </p:nvSpPr>
        <p:spPr>
          <a:xfrm>
            <a:off x="1819275" y="1360794"/>
            <a:ext cx="5485200" cy="68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4572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3pPr>
            <a:lvl4pPr marL="9144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4pPr>
            <a:lvl5pPr marL="13716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5pPr>
            <a:lvl6pPr marL="18288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6pPr>
            <a:lvl7pPr marL="22860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7pPr>
            <a:lvl8pPr marL="27432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8pPr>
            <a:lvl9pPr marL="32004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: Content">
    <p:bg>
      <p:bgPr>
        <a:solidFill>
          <a:srgbClr val="A32020"/>
        </a:solidFill>
        <a:effectLst/>
      </p:bgPr>
    </p:bg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Shape 135"/>
          <p:cNvSpPr txBox="1">
            <a:spLocks noGrp="1"/>
          </p:cNvSpPr>
          <p:nvPr>
            <p:ph type="subTitle" idx="1"/>
          </p:nvPr>
        </p:nvSpPr>
        <p:spPr>
          <a:xfrm>
            <a:off x="564600" y="1320880"/>
            <a:ext cx="8045999" cy="82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45720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91440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3pPr>
            <a:lvl4pPr marL="137160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4pPr>
            <a:lvl5pPr marL="182880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5pPr>
            <a:lvl6pPr marL="228600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6pPr>
            <a:lvl7pPr marL="274320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7pPr>
            <a:lvl8pPr marL="320040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8pPr>
            <a:lvl9pPr marL="365760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Arial"/>
              <a:buNone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36" name="Shape 136"/>
          <p:cNvSpPr txBox="1">
            <a:spLocks noGrp="1"/>
          </p:cNvSpPr>
          <p:nvPr>
            <p:ph type="title"/>
          </p:nvPr>
        </p:nvSpPr>
        <p:spPr>
          <a:xfrm>
            <a:off x="564600" y="497493"/>
            <a:ext cx="8045999" cy="68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cxnSp>
        <p:nvCxnSpPr>
          <p:cNvPr id="137" name="Shape 137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-44"/>
            </a:avLst>
          </a:prstGeom>
          <a:noFill/>
          <a:ln w="19050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38" name="Shape 138"/>
          <p:cNvSpPr txBox="1">
            <a:spLocks noGrp="1"/>
          </p:cNvSpPr>
          <p:nvPr>
            <p:ph type="body" idx="2"/>
          </p:nvPr>
        </p:nvSpPr>
        <p:spPr>
          <a:xfrm>
            <a:off x="533400" y="2146790"/>
            <a:ext cx="3962399" cy="24824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39" name="Shape 139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FFFFFF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40" name="Shape 140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FFFFFF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>
                <a:solidFill>
                  <a:srgbClr val="FFFFFF"/>
                </a:solidFill>
              </a:rPr>
              <a:pPr algn="r">
                <a:buClr>
                  <a:srgbClr val="FFFFFF"/>
                </a:buClr>
                <a:buSzPct val="25000"/>
                <a:buFont typeface="Arial"/>
                <a:buNone/>
              </a:pPr>
              <a:t>‹#›</a:t>
            </a:fld>
            <a:endParaRPr lang="en-GB" sz="800" dirty="0">
              <a:solidFill>
                <a:srgbClr val="FFFFFF"/>
              </a:solidFill>
            </a:endParaRPr>
          </a:p>
        </p:txBody>
      </p:sp>
    </p:spTree>
    <p:custDataLst>
      <p:tags r:id="rId1"/>
    </p:custData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">
    <p:spTree>
      <p:nvGrpSpPr>
        <p:cNvPr id="1" name="Shape 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Shape 142"/>
          <p:cNvSpPr txBox="1">
            <a:spLocks noGrp="1"/>
          </p:cNvSpPr>
          <p:nvPr>
            <p:ph type="body" idx="1"/>
          </p:nvPr>
        </p:nvSpPr>
        <p:spPr>
          <a:xfrm>
            <a:off x="4648808" y="1260183"/>
            <a:ext cx="3856799" cy="30083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lnSpc>
                <a:spcPct val="100000"/>
              </a:lnSpc>
              <a:spcBef>
                <a:spcPts val="0"/>
              </a:spcBef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43" name="Shape 143"/>
          <p:cNvSpPr txBox="1">
            <a:spLocks noGrp="1"/>
          </p:cNvSpPr>
          <p:nvPr>
            <p:ph type="title"/>
          </p:nvPr>
        </p:nvSpPr>
        <p:spPr>
          <a:xfrm>
            <a:off x="586231" y="514731"/>
            <a:ext cx="78359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44" name="Shape 144"/>
          <p:cNvSpPr txBox="1">
            <a:spLocks noGrp="1"/>
          </p:cNvSpPr>
          <p:nvPr>
            <p:ph type="body" idx="2"/>
          </p:nvPr>
        </p:nvSpPr>
        <p:spPr>
          <a:xfrm>
            <a:off x="547266" y="1260183"/>
            <a:ext cx="3856799" cy="30083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lnSpc>
                <a:spcPct val="100000"/>
              </a:lnSpc>
              <a:spcBef>
                <a:spcPts val="0"/>
              </a:spcBef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defRPr/>
            </a:lvl9pPr>
          </a:lstStyle>
          <a:p>
            <a:endParaRPr/>
          </a:p>
        </p:txBody>
      </p:sp>
      <p:cxnSp>
        <p:nvCxnSpPr>
          <p:cNvPr id="145" name="Shape 145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88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46" name="Shape 146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47" name="Shape 147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under Text">
    <p:spTree>
      <p:nvGrpSpPr>
        <p:cNvPr id="1" name="Shape 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Shape 149"/>
          <p:cNvSpPr txBox="1">
            <a:spLocks noGrp="1"/>
          </p:cNvSpPr>
          <p:nvPr>
            <p:ph type="subTitle" idx="1"/>
          </p:nvPr>
        </p:nvSpPr>
        <p:spPr>
          <a:xfrm>
            <a:off x="609600" y="1200150"/>
            <a:ext cx="8001000" cy="1085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1pPr>
            <a:lvl2pPr marL="274320" marR="0" lvl="1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2pPr>
            <a:lvl3pPr marL="548640" marR="0" lvl="2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3pPr>
            <a:lvl4pPr marL="822960" marR="0" lvl="3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4pPr>
            <a:lvl5pPr marL="1097280" marR="0" lvl="4" indent="-15748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5pPr>
            <a:lvl6pPr marL="274320" marR="0" lvl="5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6pPr>
            <a:lvl7pPr marL="548640" marR="0" lvl="6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7pPr>
            <a:lvl8pPr marL="822960" marR="0" lvl="7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None/>
              <a:defRPr/>
            </a:lvl9pPr>
          </a:lstStyle>
          <a:p>
            <a:endParaRPr/>
          </a:p>
        </p:txBody>
      </p:sp>
      <p:cxnSp>
        <p:nvCxnSpPr>
          <p:cNvPr id="150" name="Shape 150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132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51" name="Shape 151"/>
          <p:cNvSpPr txBox="1">
            <a:spLocks noGrp="1"/>
          </p:cNvSpPr>
          <p:nvPr>
            <p:ph type="body" idx="2"/>
          </p:nvPr>
        </p:nvSpPr>
        <p:spPr>
          <a:xfrm>
            <a:off x="4725007" y="2346035"/>
            <a:ext cx="3856799" cy="2340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lnSpc>
                <a:spcPct val="115000"/>
              </a:lnSpc>
              <a:spcBef>
                <a:spcPts val="0"/>
              </a:spcBef>
              <a:defRPr/>
            </a:lvl1pPr>
            <a:lvl2pPr lvl="1" rtl="0">
              <a:lnSpc>
                <a:spcPct val="115000"/>
              </a:lnSpc>
              <a:spcBef>
                <a:spcPts val="0"/>
              </a:spcBef>
              <a:defRPr/>
            </a:lvl2pPr>
            <a:lvl3pPr lvl="2" rtl="0">
              <a:lnSpc>
                <a:spcPct val="115000"/>
              </a:lnSpc>
              <a:spcBef>
                <a:spcPts val="0"/>
              </a:spcBef>
              <a:defRPr/>
            </a:lvl3pPr>
            <a:lvl4pPr lvl="3" rtl="0">
              <a:lnSpc>
                <a:spcPct val="115000"/>
              </a:lnSpc>
              <a:spcBef>
                <a:spcPts val="0"/>
              </a:spcBef>
              <a:defRPr/>
            </a:lvl4pPr>
            <a:lvl5pPr lvl="4" rtl="0">
              <a:lnSpc>
                <a:spcPct val="115000"/>
              </a:lnSpc>
              <a:spcBef>
                <a:spcPts val="0"/>
              </a:spcBef>
              <a:defRPr/>
            </a:lvl5pPr>
            <a:lvl6pPr lvl="5" rtl="0">
              <a:lnSpc>
                <a:spcPct val="115000"/>
              </a:lnSpc>
              <a:spcBef>
                <a:spcPts val="0"/>
              </a:spcBef>
              <a:defRPr/>
            </a:lvl6pPr>
            <a:lvl7pPr lvl="6" rtl="0">
              <a:lnSpc>
                <a:spcPct val="115000"/>
              </a:lnSpc>
              <a:spcBef>
                <a:spcPts val="0"/>
              </a:spcBef>
              <a:defRPr/>
            </a:lvl7pPr>
            <a:lvl8pPr lvl="7" rtl="0">
              <a:lnSpc>
                <a:spcPct val="115000"/>
              </a:lnSpc>
              <a:spcBef>
                <a:spcPts val="0"/>
              </a:spcBef>
              <a:defRPr/>
            </a:lvl8pPr>
            <a:lvl9pPr lvl="8" rtl="0">
              <a:lnSpc>
                <a:spcPct val="115000"/>
              </a:lnSpc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52" name="Shape 152"/>
          <p:cNvSpPr txBox="1">
            <a:spLocks noGrp="1"/>
          </p:cNvSpPr>
          <p:nvPr>
            <p:ph type="title"/>
          </p:nvPr>
        </p:nvSpPr>
        <p:spPr>
          <a:xfrm>
            <a:off x="586231" y="514731"/>
            <a:ext cx="78359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53" name="Shape 153"/>
          <p:cNvSpPr txBox="1">
            <a:spLocks noGrp="1"/>
          </p:cNvSpPr>
          <p:nvPr>
            <p:ph type="body" idx="3"/>
          </p:nvPr>
        </p:nvSpPr>
        <p:spPr>
          <a:xfrm>
            <a:off x="623475" y="2346035"/>
            <a:ext cx="3856799" cy="2340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lnSpc>
                <a:spcPct val="115000"/>
              </a:lnSpc>
              <a:spcBef>
                <a:spcPts val="0"/>
              </a:spcBef>
              <a:defRPr/>
            </a:lvl1pPr>
            <a:lvl2pPr lvl="1" rtl="0">
              <a:lnSpc>
                <a:spcPct val="115000"/>
              </a:lnSpc>
              <a:spcBef>
                <a:spcPts val="0"/>
              </a:spcBef>
              <a:defRPr/>
            </a:lvl2pPr>
            <a:lvl3pPr lvl="2" rtl="0">
              <a:lnSpc>
                <a:spcPct val="115000"/>
              </a:lnSpc>
              <a:spcBef>
                <a:spcPts val="0"/>
              </a:spcBef>
              <a:defRPr/>
            </a:lvl3pPr>
            <a:lvl4pPr lvl="3" rtl="0">
              <a:lnSpc>
                <a:spcPct val="115000"/>
              </a:lnSpc>
              <a:spcBef>
                <a:spcPts val="0"/>
              </a:spcBef>
              <a:defRPr/>
            </a:lvl4pPr>
            <a:lvl5pPr lvl="4" rtl="0">
              <a:lnSpc>
                <a:spcPct val="115000"/>
              </a:lnSpc>
              <a:spcBef>
                <a:spcPts val="0"/>
              </a:spcBef>
              <a:defRPr/>
            </a:lvl5pPr>
            <a:lvl6pPr lvl="5" rtl="0">
              <a:lnSpc>
                <a:spcPct val="115000"/>
              </a:lnSpc>
              <a:spcBef>
                <a:spcPts val="0"/>
              </a:spcBef>
              <a:defRPr/>
            </a:lvl6pPr>
            <a:lvl7pPr lvl="6" rtl="0">
              <a:lnSpc>
                <a:spcPct val="115000"/>
              </a:lnSpc>
              <a:spcBef>
                <a:spcPts val="0"/>
              </a:spcBef>
              <a:defRPr/>
            </a:lvl7pPr>
            <a:lvl8pPr lvl="7" rtl="0">
              <a:lnSpc>
                <a:spcPct val="115000"/>
              </a:lnSpc>
              <a:spcBef>
                <a:spcPts val="0"/>
              </a:spcBef>
              <a:defRPr/>
            </a:lvl8pPr>
            <a:lvl9pPr lvl="8" rtl="0">
              <a:lnSpc>
                <a:spcPct val="115000"/>
              </a:lnSpc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54" name="Shape 154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55" name="Shape 155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and Left Text"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Shape 157"/>
          <p:cNvSpPr txBox="1">
            <a:spLocks noGrp="1"/>
          </p:cNvSpPr>
          <p:nvPr>
            <p:ph type="subTitle" idx="1"/>
          </p:nvPr>
        </p:nvSpPr>
        <p:spPr>
          <a:xfrm>
            <a:off x="533400" y="1196325"/>
            <a:ext cx="5181600" cy="3360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1pPr>
            <a:lvl2pPr marL="274320" marR="0" lvl="1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2pPr>
            <a:lvl3pPr marL="548640" marR="0" lvl="2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3pPr>
            <a:lvl4pPr marL="822960" marR="0" lvl="3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4pPr>
            <a:lvl5pPr marL="1097280" marR="0" lvl="4" indent="-15748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5pPr>
            <a:lvl6pPr marL="274320" marR="0" lvl="5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6pPr>
            <a:lvl7pPr marL="548640" marR="0" lvl="6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7pPr>
            <a:lvl8pPr marL="822960" marR="0" lvl="7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None/>
              <a:defRPr/>
            </a:lvl9pPr>
          </a:lstStyle>
          <a:p>
            <a:endParaRPr/>
          </a:p>
        </p:txBody>
      </p:sp>
      <p:sp>
        <p:nvSpPr>
          <p:cNvPr id="158" name="Shape 158"/>
          <p:cNvSpPr txBox="1">
            <a:spLocks noGrp="1"/>
          </p:cNvSpPr>
          <p:nvPr>
            <p:ph type="body" idx="2"/>
          </p:nvPr>
        </p:nvSpPr>
        <p:spPr>
          <a:xfrm>
            <a:off x="5715000" y="1196325"/>
            <a:ext cx="2590800" cy="16533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sp>
        <p:nvSpPr>
          <p:cNvPr id="159" name="Shape 159"/>
          <p:cNvSpPr txBox="1">
            <a:spLocks noGrp="1"/>
          </p:cNvSpPr>
          <p:nvPr>
            <p:ph type="body" idx="3"/>
          </p:nvPr>
        </p:nvSpPr>
        <p:spPr>
          <a:xfrm>
            <a:off x="5715000" y="2902950"/>
            <a:ext cx="2590800" cy="16533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sp>
        <p:nvSpPr>
          <p:cNvPr id="160" name="Shape 160"/>
          <p:cNvSpPr txBox="1">
            <a:spLocks noGrp="1"/>
          </p:cNvSpPr>
          <p:nvPr>
            <p:ph type="title"/>
          </p:nvPr>
        </p:nvSpPr>
        <p:spPr>
          <a:xfrm>
            <a:off x="586231" y="514731"/>
            <a:ext cx="78359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cxnSp>
        <p:nvCxnSpPr>
          <p:cNvPr id="161" name="Shape 161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132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62" name="Shape 162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63" name="Shape 163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and Right Text">
    <p:spTree>
      <p:nvGrpSpPr>
        <p:cNvPr id="1" name="Shape 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Shape 165"/>
          <p:cNvSpPr txBox="1">
            <a:spLocks noGrp="1"/>
          </p:cNvSpPr>
          <p:nvPr>
            <p:ph type="subTitle" idx="1"/>
          </p:nvPr>
        </p:nvSpPr>
        <p:spPr>
          <a:xfrm>
            <a:off x="3240631" y="1196325"/>
            <a:ext cx="5181600" cy="3360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1pPr>
            <a:lvl2pPr marL="274320" marR="0" lvl="1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2pPr>
            <a:lvl3pPr marL="548640" marR="0" lvl="2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3pPr>
            <a:lvl4pPr marL="822960" marR="0" lvl="3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4pPr>
            <a:lvl5pPr marL="1097280" marR="0" lvl="4" indent="-15748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5pPr>
            <a:lvl6pPr marL="274320" marR="0" lvl="5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6pPr>
            <a:lvl7pPr marL="548640" marR="0" lvl="6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7pPr>
            <a:lvl8pPr marL="822960" marR="0" lvl="7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None/>
              <a:defRPr/>
            </a:lvl9pPr>
          </a:lstStyle>
          <a:p>
            <a:endParaRPr/>
          </a:p>
        </p:txBody>
      </p:sp>
      <p:sp>
        <p:nvSpPr>
          <p:cNvPr id="166" name="Shape 166"/>
          <p:cNvSpPr txBox="1">
            <a:spLocks noGrp="1"/>
          </p:cNvSpPr>
          <p:nvPr>
            <p:ph type="body" idx="2"/>
          </p:nvPr>
        </p:nvSpPr>
        <p:spPr>
          <a:xfrm>
            <a:off x="521233" y="1196325"/>
            <a:ext cx="2590800" cy="16533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sp>
        <p:nvSpPr>
          <p:cNvPr id="167" name="Shape 167"/>
          <p:cNvSpPr txBox="1">
            <a:spLocks noGrp="1"/>
          </p:cNvSpPr>
          <p:nvPr>
            <p:ph type="body" idx="3"/>
          </p:nvPr>
        </p:nvSpPr>
        <p:spPr>
          <a:xfrm>
            <a:off x="521233" y="2902950"/>
            <a:ext cx="2590800" cy="16533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sp>
        <p:nvSpPr>
          <p:cNvPr id="168" name="Shape 168"/>
          <p:cNvSpPr txBox="1">
            <a:spLocks noGrp="1"/>
          </p:cNvSpPr>
          <p:nvPr>
            <p:ph type="title"/>
          </p:nvPr>
        </p:nvSpPr>
        <p:spPr>
          <a:xfrm>
            <a:off x="586231" y="514731"/>
            <a:ext cx="78359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cxnSp>
        <p:nvCxnSpPr>
          <p:cNvPr id="169" name="Shape 169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132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70" name="Shape 170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71" name="Shape 171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1618519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4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hape 10"/>
          <p:cNvSpPr txBox="1">
            <a:spLocks noGrp="1"/>
          </p:cNvSpPr>
          <p:nvPr>
            <p:ph type="title"/>
          </p:nvPr>
        </p:nvSpPr>
        <p:spPr>
          <a:xfrm>
            <a:off x="533400" y="514350"/>
            <a:ext cx="8077199" cy="68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Georgia"/>
              <a:buNone/>
              <a:defRPr sz="2200" b="1" i="1">
                <a:latin typeface="Georgia"/>
                <a:ea typeface="Georgia"/>
                <a:cs typeface="Georgia"/>
                <a:sym typeface="Georgia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Georgia"/>
              <a:buNone/>
              <a:defRPr sz="2200" b="1" i="1">
                <a:latin typeface="Georgia"/>
                <a:ea typeface="Georgia"/>
                <a:cs typeface="Georgia"/>
                <a:sym typeface="Georgia"/>
              </a:defRPr>
            </a:lvl2pPr>
            <a:lvl3pPr marL="0" marR="0" lvl="2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3pPr>
            <a:lvl4pPr marL="0" marR="0" lvl="3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4pPr>
            <a:lvl5pPr marL="0" marR="0" lvl="4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5pPr>
            <a:lvl6pPr marL="0" marR="0" lvl="5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6pPr>
            <a:lvl7pPr marL="0" marR="0" lvl="6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7pPr>
            <a:lvl8pPr marL="0" marR="0" lvl="7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8pPr>
            <a:lvl9pPr marL="0" marR="0" lvl="8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9pPr>
          </a:lstStyle>
          <a:p>
            <a:endParaRPr/>
          </a:p>
        </p:txBody>
      </p:sp>
      <p:sp>
        <p:nvSpPr>
          <p:cNvPr id="11" name="Shape 11"/>
          <p:cNvSpPr txBox="1">
            <a:spLocks noGrp="1"/>
          </p:cNvSpPr>
          <p:nvPr>
            <p:ph type="body" idx="1"/>
          </p:nvPr>
        </p:nvSpPr>
        <p:spPr>
          <a:xfrm>
            <a:off x="533400" y="1314450"/>
            <a:ext cx="8077199" cy="3314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­"/>
              <a:defRPr sz="1600">
                <a:latin typeface="Georgia"/>
                <a:ea typeface="Georgia"/>
                <a:cs typeface="Georgia"/>
                <a:sym typeface="Georgia"/>
              </a:defRPr>
            </a:lvl1pPr>
            <a:lvl2pPr marL="274320" marR="0" lvl="1" indent="-457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●"/>
              <a:defRPr sz="1600">
                <a:latin typeface="Georgia"/>
                <a:ea typeface="Georgia"/>
                <a:cs typeface="Georgia"/>
                <a:sym typeface="Georgia"/>
              </a:defRPr>
            </a:lvl2pPr>
            <a:lvl3pPr marL="548640" marR="0" lvl="2" indent="-533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―"/>
              <a:defRPr sz="1600">
                <a:latin typeface="Georgia"/>
                <a:ea typeface="Georgia"/>
                <a:cs typeface="Georgia"/>
                <a:sym typeface="Georgia"/>
              </a:defRPr>
            </a:lvl3pPr>
            <a:lvl4pPr marL="822960" marR="0" lvl="3" indent="-482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○"/>
              <a:defRPr sz="1600">
                <a:latin typeface="Georgia"/>
                <a:ea typeface="Georgia"/>
                <a:cs typeface="Georgia"/>
                <a:sym typeface="Georgia"/>
              </a:defRPr>
            </a:lvl4pPr>
            <a:lvl5pPr marL="1097280" marR="0" lvl="4" indent="-5588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&gt;"/>
              <a:defRPr sz="1600">
                <a:latin typeface="Georgia"/>
                <a:ea typeface="Georgia"/>
                <a:cs typeface="Georgia"/>
                <a:sym typeface="Georgia"/>
              </a:defRPr>
            </a:lvl5pPr>
            <a:lvl6pPr marL="274320" marR="0" lvl="5" indent="-457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■"/>
              <a:defRPr sz="1600">
                <a:latin typeface="Georgia"/>
                <a:ea typeface="Georgia"/>
                <a:cs typeface="Georgia"/>
                <a:sym typeface="Georgia"/>
              </a:defRPr>
            </a:lvl6pPr>
            <a:lvl7pPr marL="548640" marR="0" lvl="6" indent="-533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●"/>
              <a:defRPr sz="1600">
                <a:latin typeface="Georgia"/>
                <a:ea typeface="Georgia"/>
                <a:cs typeface="Georgia"/>
                <a:sym typeface="Georgia"/>
              </a:defRPr>
            </a:lvl7pPr>
            <a:lvl8pPr marL="822960" marR="0" lvl="7" indent="-482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○"/>
              <a:defRPr sz="1600">
                <a:latin typeface="Georgia"/>
                <a:ea typeface="Georgia"/>
                <a:cs typeface="Georgia"/>
                <a:sym typeface="Georgia"/>
              </a:defRPr>
            </a:lvl8pPr>
            <a:lvl9pPr marL="0" marR="0" lvl="8" indent="10160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SzPct val="100000"/>
              <a:buFont typeface="Georgia"/>
              <a:buChar char="■"/>
              <a:defRPr sz="1600">
                <a:latin typeface="Georgia"/>
                <a:ea typeface="Georgia"/>
                <a:cs typeface="Georgia"/>
                <a:sym typeface="Georgia"/>
              </a:defRPr>
            </a:lvl9pPr>
          </a:lstStyle>
          <a:p>
            <a:endParaRPr/>
          </a:p>
        </p:txBody>
      </p:sp>
    </p:spTree>
    <p:custDataLst>
      <p:tags r:id="rId19"/>
    </p:custDataLst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  <p:sldLayoutId id="2147483663" r:id="rId12"/>
    <p:sldLayoutId id="2147483664" r:id="rId13"/>
    <p:sldLayoutId id="2147483665" r:id="rId14"/>
    <p:sldLayoutId id="2147483667" r:id="rId15"/>
    <p:sldLayoutId id="2147483670" r:id="rId16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 bwMode="ltGray">
          <a:xfrm>
            <a:off x="4741786" y="614362"/>
            <a:ext cx="4135514" cy="1957388"/>
          </a:xfrm>
          <a:prstGeom prst="rect">
            <a:avLst/>
          </a:prstGeom>
          <a:solidFill>
            <a:schemeClr val="tx2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72" name="Parallelogram 71"/>
          <p:cNvSpPr/>
          <p:nvPr/>
        </p:nvSpPr>
        <p:spPr bwMode="ltGray">
          <a:xfrm flipH="1">
            <a:off x="-5832" y="0"/>
            <a:ext cx="3712801" cy="5143500"/>
          </a:xfrm>
          <a:prstGeom prst="parallelogram">
            <a:avLst>
              <a:gd name="adj" fmla="val 77827"/>
            </a:avLst>
          </a:prstGeom>
          <a:solidFill>
            <a:srgbClr val="D5D1C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2" name="Rectangle 31"/>
          <p:cNvSpPr/>
          <p:nvPr/>
        </p:nvSpPr>
        <p:spPr bwMode="ltGray">
          <a:xfrm>
            <a:off x="251225" y="2866092"/>
            <a:ext cx="4255644" cy="1926763"/>
          </a:xfrm>
          <a:prstGeom prst="rect">
            <a:avLst/>
          </a:prstGeom>
          <a:solidFill>
            <a:srgbClr val="EB8C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69" name="Title 1"/>
          <p:cNvSpPr>
            <a:spLocks noGrp="1"/>
          </p:cNvSpPr>
          <p:nvPr>
            <p:ph type="title"/>
          </p:nvPr>
        </p:nvSpPr>
        <p:spPr>
          <a:xfrm>
            <a:off x="1178327" y="119870"/>
            <a:ext cx="7680410" cy="404406"/>
          </a:xfrm>
        </p:spPr>
        <p:txBody>
          <a:bodyPr/>
          <a:lstStyle/>
          <a:p>
            <a:r>
              <a:rPr lang="en-US" dirty="0" smtClean="0"/>
              <a:t>Logical functions </a:t>
            </a:r>
            <a:r>
              <a:rPr lang="en-US" dirty="0"/>
              <a:t>– IF function</a:t>
            </a:r>
            <a:endParaRPr lang="en-GB" b="0" i="0" dirty="0" smtClean="0"/>
          </a:p>
        </p:txBody>
      </p:sp>
      <p:sp>
        <p:nvSpPr>
          <p:cNvPr id="86" name="Rectangle 85"/>
          <p:cNvSpPr/>
          <p:nvPr/>
        </p:nvSpPr>
        <p:spPr bwMode="ltGray">
          <a:xfrm>
            <a:off x="251225" y="628104"/>
            <a:ext cx="4255644" cy="1943646"/>
          </a:xfrm>
          <a:prstGeom prst="rect">
            <a:avLst/>
          </a:prstGeom>
          <a:solidFill>
            <a:schemeClr val="accent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90" name="Rectangle 89"/>
          <p:cNvSpPr/>
          <p:nvPr/>
        </p:nvSpPr>
        <p:spPr bwMode="ltGray">
          <a:xfrm>
            <a:off x="4741786" y="2855610"/>
            <a:ext cx="4145039" cy="1925940"/>
          </a:xfrm>
          <a:prstGeom prst="rect">
            <a:avLst/>
          </a:prstGeom>
          <a:solidFill>
            <a:schemeClr val="accent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415925" y="963128"/>
            <a:ext cx="4022915" cy="147732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IF Statements allow you to compare different values or variables and return a specified value depending on the outcome of that test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The test must be structured as a Boolean, or a True/False Test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If no outputs are specified, the function will return the word “TRUE” if the test is true, and “FALSE” if the </a:t>
            </a: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/>
            </a:r>
            <a:b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</a:b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>test </a:t>
            </a: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is false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4956906" y="3302803"/>
            <a:ext cx="3840480" cy="136960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Any test or output values that are text must be entered </a:t>
            </a: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>as “</a:t>
            </a: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quotes”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To test greater or less than, put the &gt; or &lt; symbol inside quotes and separate from the numerical value with an ampersand (&amp;)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Outputs can be formulas, as opposed to </a:t>
            </a: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/>
            </a:r>
            <a:b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</a:b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>static </a:t>
            </a: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values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415925" y="3302803"/>
            <a:ext cx="4023360" cy="5924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Isolating a data set for further analysis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Identifying data records that meet a certain materiality threshold </a:t>
            </a: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>for evaluation</a:t>
            </a:r>
            <a:endParaRPr lang="en-US" sz="1200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01585" y="658652"/>
            <a:ext cx="940895" cy="2383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900"/>
              </a:spcAft>
            </a:pPr>
            <a:r>
              <a:rPr lang="en-GB" b="1" i="1" dirty="0" smtClean="0">
                <a:solidFill>
                  <a:schemeClr val="bg1"/>
                </a:solidFill>
                <a:latin typeface="Georgia" pitchFamily="18" charset="0"/>
              </a:rPr>
              <a:t>Overview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4937376" y="648119"/>
            <a:ext cx="940895" cy="2383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Syntax</a:t>
            </a:r>
            <a:endParaRPr lang="en-GB" b="1" i="1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907130" y="2937365"/>
            <a:ext cx="2550742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Tips </a:t>
            </a:r>
            <a:r>
              <a:rPr lang="en-GB" b="1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nd Tricks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415925" y="2988994"/>
            <a:ext cx="2651530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Uses </a:t>
            </a:r>
            <a:r>
              <a:rPr lang="en-GB" b="1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nd Applications</a:t>
            </a:r>
          </a:p>
        </p:txBody>
      </p:sp>
      <p:sp>
        <p:nvSpPr>
          <p:cNvPr id="23" name="Freeform 201"/>
          <p:cNvSpPr>
            <a:spLocks noEditPoints="1"/>
          </p:cNvSpPr>
          <p:nvPr/>
        </p:nvSpPr>
        <p:spPr bwMode="auto">
          <a:xfrm>
            <a:off x="4040650" y="2222127"/>
            <a:ext cx="398190" cy="283985"/>
          </a:xfrm>
          <a:custGeom>
            <a:avLst/>
            <a:gdLst>
              <a:gd name="T0" fmla="*/ 67 w 812"/>
              <a:gd name="T1" fmla="*/ 0 h 576"/>
              <a:gd name="T2" fmla="*/ 30 w 812"/>
              <a:gd name="T3" fmla="*/ 12 h 576"/>
              <a:gd name="T4" fmla="*/ 5 w 812"/>
              <a:gd name="T5" fmla="*/ 43 h 576"/>
              <a:gd name="T6" fmla="*/ 0 w 812"/>
              <a:gd name="T7" fmla="*/ 390 h 576"/>
              <a:gd name="T8" fmla="*/ 5 w 812"/>
              <a:gd name="T9" fmla="*/ 416 h 576"/>
              <a:gd name="T10" fmla="*/ 30 w 812"/>
              <a:gd name="T11" fmla="*/ 446 h 576"/>
              <a:gd name="T12" fmla="*/ 67 w 812"/>
              <a:gd name="T13" fmla="*/ 457 h 576"/>
              <a:gd name="T14" fmla="*/ 101 w 812"/>
              <a:gd name="T15" fmla="*/ 509 h 576"/>
              <a:gd name="T16" fmla="*/ 473 w 812"/>
              <a:gd name="T17" fmla="*/ 509 h 576"/>
              <a:gd name="T18" fmla="*/ 507 w 812"/>
              <a:gd name="T19" fmla="*/ 457 h 576"/>
              <a:gd name="T20" fmla="*/ 534 w 812"/>
              <a:gd name="T21" fmla="*/ 452 h 576"/>
              <a:gd name="T22" fmla="*/ 564 w 812"/>
              <a:gd name="T23" fmla="*/ 428 h 576"/>
              <a:gd name="T24" fmla="*/ 575 w 812"/>
              <a:gd name="T25" fmla="*/ 390 h 576"/>
              <a:gd name="T26" fmla="*/ 574 w 812"/>
              <a:gd name="T27" fmla="*/ 55 h 576"/>
              <a:gd name="T28" fmla="*/ 555 w 812"/>
              <a:gd name="T29" fmla="*/ 21 h 576"/>
              <a:gd name="T30" fmla="*/ 522 w 812"/>
              <a:gd name="T31" fmla="*/ 2 h 576"/>
              <a:gd name="T32" fmla="*/ 507 w 812"/>
              <a:gd name="T33" fmla="*/ 373 h 576"/>
              <a:gd name="T34" fmla="*/ 502 w 812"/>
              <a:gd name="T35" fmla="*/ 385 h 576"/>
              <a:gd name="T36" fmla="*/ 84 w 812"/>
              <a:gd name="T37" fmla="*/ 390 h 576"/>
              <a:gd name="T38" fmla="*/ 72 w 812"/>
              <a:gd name="T39" fmla="*/ 385 h 576"/>
              <a:gd name="T40" fmla="*/ 67 w 812"/>
              <a:gd name="T41" fmla="*/ 85 h 576"/>
              <a:gd name="T42" fmla="*/ 72 w 812"/>
              <a:gd name="T43" fmla="*/ 74 h 576"/>
              <a:gd name="T44" fmla="*/ 490 w 812"/>
              <a:gd name="T45" fmla="*/ 68 h 576"/>
              <a:gd name="T46" fmla="*/ 502 w 812"/>
              <a:gd name="T47" fmla="*/ 74 h 576"/>
              <a:gd name="T48" fmla="*/ 507 w 812"/>
              <a:gd name="T49" fmla="*/ 373 h 576"/>
              <a:gd name="T50" fmla="*/ 643 w 812"/>
              <a:gd name="T51" fmla="*/ 0 h 576"/>
              <a:gd name="T52" fmla="*/ 624 w 812"/>
              <a:gd name="T53" fmla="*/ 6 h 576"/>
              <a:gd name="T54" fmla="*/ 612 w 812"/>
              <a:gd name="T55" fmla="*/ 21 h 576"/>
              <a:gd name="T56" fmla="*/ 610 w 812"/>
              <a:gd name="T57" fmla="*/ 543 h 576"/>
              <a:gd name="T58" fmla="*/ 612 w 812"/>
              <a:gd name="T59" fmla="*/ 556 h 576"/>
              <a:gd name="T60" fmla="*/ 624 w 812"/>
              <a:gd name="T61" fmla="*/ 570 h 576"/>
              <a:gd name="T62" fmla="*/ 643 w 812"/>
              <a:gd name="T63" fmla="*/ 576 h 576"/>
              <a:gd name="T64" fmla="*/ 786 w 812"/>
              <a:gd name="T65" fmla="*/ 575 h 576"/>
              <a:gd name="T66" fmla="*/ 802 w 812"/>
              <a:gd name="T67" fmla="*/ 566 h 576"/>
              <a:gd name="T68" fmla="*/ 811 w 812"/>
              <a:gd name="T69" fmla="*/ 549 h 576"/>
              <a:gd name="T70" fmla="*/ 812 w 812"/>
              <a:gd name="T71" fmla="*/ 34 h 576"/>
              <a:gd name="T72" fmla="*/ 806 w 812"/>
              <a:gd name="T73" fmla="*/ 16 h 576"/>
              <a:gd name="T74" fmla="*/ 792 w 812"/>
              <a:gd name="T75" fmla="*/ 3 h 576"/>
              <a:gd name="T76" fmla="*/ 778 w 812"/>
              <a:gd name="T77" fmla="*/ 0 h 576"/>
              <a:gd name="T78" fmla="*/ 702 w 812"/>
              <a:gd name="T79" fmla="*/ 444 h 576"/>
              <a:gd name="T80" fmla="*/ 683 w 812"/>
              <a:gd name="T81" fmla="*/ 434 h 576"/>
              <a:gd name="T82" fmla="*/ 674 w 812"/>
              <a:gd name="T83" fmla="*/ 415 h 576"/>
              <a:gd name="T84" fmla="*/ 674 w 812"/>
              <a:gd name="T85" fmla="*/ 399 h 576"/>
              <a:gd name="T86" fmla="*/ 683 w 812"/>
              <a:gd name="T87" fmla="*/ 380 h 576"/>
              <a:gd name="T88" fmla="*/ 702 w 812"/>
              <a:gd name="T89" fmla="*/ 369 h 576"/>
              <a:gd name="T90" fmla="*/ 718 w 812"/>
              <a:gd name="T91" fmla="*/ 369 h 576"/>
              <a:gd name="T92" fmla="*/ 737 w 812"/>
              <a:gd name="T93" fmla="*/ 380 h 576"/>
              <a:gd name="T94" fmla="*/ 748 w 812"/>
              <a:gd name="T95" fmla="*/ 399 h 576"/>
              <a:gd name="T96" fmla="*/ 748 w 812"/>
              <a:gd name="T97" fmla="*/ 415 h 576"/>
              <a:gd name="T98" fmla="*/ 737 w 812"/>
              <a:gd name="T99" fmla="*/ 434 h 576"/>
              <a:gd name="T100" fmla="*/ 718 w 812"/>
              <a:gd name="T101" fmla="*/ 444 h 576"/>
              <a:gd name="T102" fmla="*/ 765 w 812"/>
              <a:gd name="T103" fmla="*/ 103 h 576"/>
              <a:gd name="T104" fmla="*/ 653 w 812"/>
              <a:gd name="T105" fmla="*/ 103 h 576"/>
              <a:gd name="T106" fmla="*/ 640 w 812"/>
              <a:gd name="T107" fmla="*/ 92 h 576"/>
              <a:gd name="T108" fmla="*/ 639 w 812"/>
              <a:gd name="T109" fmla="*/ 85 h 576"/>
              <a:gd name="T110" fmla="*/ 643 w 812"/>
              <a:gd name="T111" fmla="*/ 73 h 576"/>
              <a:gd name="T112" fmla="*/ 657 w 812"/>
              <a:gd name="T113" fmla="*/ 68 h 576"/>
              <a:gd name="T114" fmla="*/ 769 w 812"/>
              <a:gd name="T115" fmla="*/ 68 h 576"/>
              <a:gd name="T116" fmla="*/ 781 w 812"/>
              <a:gd name="T117" fmla="*/ 79 h 576"/>
              <a:gd name="T118" fmla="*/ 782 w 812"/>
              <a:gd name="T119" fmla="*/ 85 h 576"/>
              <a:gd name="T120" fmla="*/ 777 w 812"/>
              <a:gd name="T121" fmla="*/ 98 h 576"/>
              <a:gd name="T122" fmla="*/ 765 w 812"/>
              <a:gd name="T123" fmla="*/ 103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12" h="576">
                <a:moveTo>
                  <a:pt x="507" y="0"/>
                </a:moveTo>
                <a:lnTo>
                  <a:pt x="67" y="0"/>
                </a:lnTo>
                <a:lnTo>
                  <a:pt x="67" y="0"/>
                </a:lnTo>
                <a:lnTo>
                  <a:pt x="54" y="2"/>
                </a:lnTo>
                <a:lnTo>
                  <a:pt x="41" y="6"/>
                </a:lnTo>
                <a:lnTo>
                  <a:pt x="30" y="12"/>
                </a:lnTo>
                <a:lnTo>
                  <a:pt x="19" y="21"/>
                </a:lnTo>
                <a:lnTo>
                  <a:pt x="12" y="31"/>
                </a:lnTo>
                <a:lnTo>
                  <a:pt x="5" y="43"/>
                </a:lnTo>
                <a:lnTo>
                  <a:pt x="1" y="55"/>
                </a:lnTo>
                <a:lnTo>
                  <a:pt x="0" y="68"/>
                </a:lnTo>
                <a:lnTo>
                  <a:pt x="0" y="390"/>
                </a:lnTo>
                <a:lnTo>
                  <a:pt x="0" y="390"/>
                </a:lnTo>
                <a:lnTo>
                  <a:pt x="1" y="404"/>
                </a:lnTo>
                <a:lnTo>
                  <a:pt x="5" y="416"/>
                </a:lnTo>
                <a:lnTo>
                  <a:pt x="12" y="428"/>
                </a:lnTo>
                <a:lnTo>
                  <a:pt x="19" y="438"/>
                </a:lnTo>
                <a:lnTo>
                  <a:pt x="30" y="446"/>
                </a:lnTo>
                <a:lnTo>
                  <a:pt x="41" y="452"/>
                </a:lnTo>
                <a:lnTo>
                  <a:pt x="54" y="456"/>
                </a:lnTo>
                <a:lnTo>
                  <a:pt x="67" y="457"/>
                </a:lnTo>
                <a:lnTo>
                  <a:pt x="237" y="457"/>
                </a:lnTo>
                <a:lnTo>
                  <a:pt x="237" y="509"/>
                </a:lnTo>
                <a:lnTo>
                  <a:pt x="101" y="509"/>
                </a:lnTo>
                <a:lnTo>
                  <a:pt x="101" y="576"/>
                </a:lnTo>
                <a:lnTo>
                  <a:pt x="473" y="576"/>
                </a:lnTo>
                <a:lnTo>
                  <a:pt x="473" y="509"/>
                </a:lnTo>
                <a:lnTo>
                  <a:pt x="339" y="509"/>
                </a:lnTo>
                <a:lnTo>
                  <a:pt x="339" y="457"/>
                </a:lnTo>
                <a:lnTo>
                  <a:pt x="507" y="457"/>
                </a:lnTo>
                <a:lnTo>
                  <a:pt x="507" y="457"/>
                </a:lnTo>
                <a:lnTo>
                  <a:pt x="522" y="456"/>
                </a:lnTo>
                <a:lnTo>
                  <a:pt x="534" y="452"/>
                </a:lnTo>
                <a:lnTo>
                  <a:pt x="546" y="446"/>
                </a:lnTo>
                <a:lnTo>
                  <a:pt x="555" y="438"/>
                </a:lnTo>
                <a:lnTo>
                  <a:pt x="564" y="428"/>
                </a:lnTo>
                <a:lnTo>
                  <a:pt x="570" y="416"/>
                </a:lnTo>
                <a:lnTo>
                  <a:pt x="574" y="404"/>
                </a:lnTo>
                <a:lnTo>
                  <a:pt x="575" y="390"/>
                </a:lnTo>
                <a:lnTo>
                  <a:pt x="575" y="68"/>
                </a:lnTo>
                <a:lnTo>
                  <a:pt x="575" y="68"/>
                </a:lnTo>
                <a:lnTo>
                  <a:pt x="574" y="55"/>
                </a:lnTo>
                <a:lnTo>
                  <a:pt x="570" y="43"/>
                </a:lnTo>
                <a:lnTo>
                  <a:pt x="564" y="31"/>
                </a:lnTo>
                <a:lnTo>
                  <a:pt x="555" y="21"/>
                </a:lnTo>
                <a:lnTo>
                  <a:pt x="546" y="12"/>
                </a:lnTo>
                <a:lnTo>
                  <a:pt x="534" y="6"/>
                </a:lnTo>
                <a:lnTo>
                  <a:pt x="522" y="2"/>
                </a:lnTo>
                <a:lnTo>
                  <a:pt x="507" y="0"/>
                </a:lnTo>
                <a:lnTo>
                  <a:pt x="507" y="0"/>
                </a:lnTo>
                <a:close/>
                <a:moveTo>
                  <a:pt x="507" y="373"/>
                </a:moveTo>
                <a:lnTo>
                  <a:pt x="507" y="373"/>
                </a:lnTo>
                <a:lnTo>
                  <a:pt x="506" y="380"/>
                </a:lnTo>
                <a:lnTo>
                  <a:pt x="502" y="385"/>
                </a:lnTo>
                <a:lnTo>
                  <a:pt x="498" y="388"/>
                </a:lnTo>
                <a:lnTo>
                  <a:pt x="490" y="390"/>
                </a:lnTo>
                <a:lnTo>
                  <a:pt x="84" y="390"/>
                </a:lnTo>
                <a:lnTo>
                  <a:pt x="84" y="390"/>
                </a:lnTo>
                <a:lnTo>
                  <a:pt x="78" y="388"/>
                </a:lnTo>
                <a:lnTo>
                  <a:pt x="72" y="385"/>
                </a:lnTo>
                <a:lnTo>
                  <a:pt x="69" y="380"/>
                </a:lnTo>
                <a:lnTo>
                  <a:pt x="67" y="373"/>
                </a:lnTo>
                <a:lnTo>
                  <a:pt x="67" y="85"/>
                </a:lnTo>
                <a:lnTo>
                  <a:pt x="67" y="85"/>
                </a:lnTo>
                <a:lnTo>
                  <a:pt x="69" y="79"/>
                </a:lnTo>
                <a:lnTo>
                  <a:pt x="72" y="74"/>
                </a:lnTo>
                <a:lnTo>
                  <a:pt x="78" y="70"/>
                </a:lnTo>
                <a:lnTo>
                  <a:pt x="84" y="68"/>
                </a:lnTo>
                <a:lnTo>
                  <a:pt x="490" y="68"/>
                </a:lnTo>
                <a:lnTo>
                  <a:pt x="490" y="68"/>
                </a:lnTo>
                <a:lnTo>
                  <a:pt x="498" y="70"/>
                </a:lnTo>
                <a:lnTo>
                  <a:pt x="502" y="74"/>
                </a:lnTo>
                <a:lnTo>
                  <a:pt x="506" y="79"/>
                </a:lnTo>
                <a:lnTo>
                  <a:pt x="507" y="85"/>
                </a:lnTo>
                <a:lnTo>
                  <a:pt x="507" y="373"/>
                </a:lnTo>
                <a:close/>
                <a:moveTo>
                  <a:pt x="778" y="0"/>
                </a:moveTo>
                <a:lnTo>
                  <a:pt x="643" y="0"/>
                </a:lnTo>
                <a:lnTo>
                  <a:pt x="643" y="0"/>
                </a:lnTo>
                <a:lnTo>
                  <a:pt x="636" y="2"/>
                </a:lnTo>
                <a:lnTo>
                  <a:pt x="630" y="3"/>
                </a:lnTo>
                <a:lnTo>
                  <a:pt x="624" y="6"/>
                </a:lnTo>
                <a:lnTo>
                  <a:pt x="619" y="11"/>
                </a:lnTo>
                <a:lnTo>
                  <a:pt x="614" y="16"/>
                </a:lnTo>
                <a:lnTo>
                  <a:pt x="612" y="21"/>
                </a:lnTo>
                <a:lnTo>
                  <a:pt x="610" y="28"/>
                </a:lnTo>
                <a:lnTo>
                  <a:pt x="610" y="34"/>
                </a:lnTo>
                <a:lnTo>
                  <a:pt x="610" y="543"/>
                </a:lnTo>
                <a:lnTo>
                  <a:pt x="610" y="543"/>
                </a:lnTo>
                <a:lnTo>
                  <a:pt x="610" y="549"/>
                </a:lnTo>
                <a:lnTo>
                  <a:pt x="612" y="556"/>
                </a:lnTo>
                <a:lnTo>
                  <a:pt x="614" y="561"/>
                </a:lnTo>
                <a:lnTo>
                  <a:pt x="619" y="566"/>
                </a:lnTo>
                <a:lnTo>
                  <a:pt x="624" y="570"/>
                </a:lnTo>
                <a:lnTo>
                  <a:pt x="630" y="574"/>
                </a:lnTo>
                <a:lnTo>
                  <a:pt x="636" y="575"/>
                </a:lnTo>
                <a:lnTo>
                  <a:pt x="643" y="576"/>
                </a:lnTo>
                <a:lnTo>
                  <a:pt x="778" y="576"/>
                </a:lnTo>
                <a:lnTo>
                  <a:pt x="778" y="576"/>
                </a:lnTo>
                <a:lnTo>
                  <a:pt x="786" y="575"/>
                </a:lnTo>
                <a:lnTo>
                  <a:pt x="792" y="574"/>
                </a:lnTo>
                <a:lnTo>
                  <a:pt x="798" y="570"/>
                </a:lnTo>
                <a:lnTo>
                  <a:pt x="802" y="566"/>
                </a:lnTo>
                <a:lnTo>
                  <a:pt x="806" y="561"/>
                </a:lnTo>
                <a:lnTo>
                  <a:pt x="810" y="556"/>
                </a:lnTo>
                <a:lnTo>
                  <a:pt x="811" y="549"/>
                </a:lnTo>
                <a:lnTo>
                  <a:pt x="812" y="543"/>
                </a:lnTo>
                <a:lnTo>
                  <a:pt x="812" y="34"/>
                </a:lnTo>
                <a:lnTo>
                  <a:pt x="812" y="34"/>
                </a:lnTo>
                <a:lnTo>
                  <a:pt x="811" y="28"/>
                </a:lnTo>
                <a:lnTo>
                  <a:pt x="810" y="21"/>
                </a:lnTo>
                <a:lnTo>
                  <a:pt x="806" y="16"/>
                </a:lnTo>
                <a:lnTo>
                  <a:pt x="802" y="11"/>
                </a:lnTo>
                <a:lnTo>
                  <a:pt x="798" y="6"/>
                </a:lnTo>
                <a:lnTo>
                  <a:pt x="792" y="3"/>
                </a:lnTo>
                <a:lnTo>
                  <a:pt x="786" y="2"/>
                </a:lnTo>
                <a:lnTo>
                  <a:pt x="778" y="0"/>
                </a:lnTo>
                <a:lnTo>
                  <a:pt x="778" y="0"/>
                </a:lnTo>
                <a:close/>
                <a:moveTo>
                  <a:pt x="711" y="445"/>
                </a:moveTo>
                <a:lnTo>
                  <a:pt x="711" y="445"/>
                </a:lnTo>
                <a:lnTo>
                  <a:pt x="702" y="444"/>
                </a:lnTo>
                <a:lnTo>
                  <a:pt x="695" y="441"/>
                </a:lnTo>
                <a:lnTo>
                  <a:pt x="689" y="438"/>
                </a:lnTo>
                <a:lnTo>
                  <a:pt x="683" y="434"/>
                </a:lnTo>
                <a:lnTo>
                  <a:pt x="680" y="428"/>
                </a:lnTo>
                <a:lnTo>
                  <a:pt x="676" y="422"/>
                </a:lnTo>
                <a:lnTo>
                  <a:pt x="674" y="415"/>
                </a:lnTo>
                <a:lnTo>
                  <a:pt x="672" y="406"/>
                </a:lnTo>
                <a:lnTo>
                  <a:pt x="672" y="406"/>
                </a:lnTo>
                <a:lnTo>
                  <a:pt x="674" y="399"/>
                </a:lnTo>
                <a:lnTo>
                  <a:pt x="676" y="392"/>
                </a:lnTo>
                <a:lnTo>
                  <a:pt x="680" y="386"/>
                </a:lnTo>
                <a:lnTo>
                  <a:pt x="683" y="380"/>
                </a:lnTo>
                <a:lnTo>
                  <a:pt x="689" y="375"/>
                </a:lnTo>
                <a:lnTo>
                  <a:pt x="695" y="372"/>
                </a:lnTo>
                <a:lnTo>
                  <a:pt x="702" y="369"/>
                </a:lnTo>
                <a:lnTo>
                  <a:pt x="711" y="369"/>
                </a:lnTo>
                <a:lnTo>
                  <a:pt x="711" y="369"/>
                </a:lnTo>
                <a:lnTo>
                  <a:pt x="718" y="369"/>
                </a:lnTo>
                <a:lnTo>
                  <a:pt x="725" y="372"/>
                </a:lnTo>
                <a:lnTo>
                  <a:pt x="731" y="375"/>
                </a:lnTo>
                <a:lnTo>
                  <a:pt x="737" y="380"/>
                </a:lnTo>
                <a:lnTo>
                  <a:pt x="742" y="386"/>
                </a:lnTo>
                <a:lnTo>
                  <a:pt x="746" y="392"/>
                </a:lnTo>
                <a:lnTo>
                  <a:pt x="748" y="399"/>
                </a:lnTo>
                <a:lnTo>
                  <a:pt x="748" y="406"/>
                </a:lnTo>
                <a:lnTo>
                  <a:pt x="748" y="406"/>
                </a:lnTo>
                <a:lnTo>
                  <a:pt x="748" y="415"/>
                </a:lnTo>
                <a:lnTo>
                  <a:pt x="746" y="422"/>
                </a:lnTo>
                <a:lnTo>
                  <a:pt x="742" y="428"/>
                </a:lnTo>
                <a:lnTo>
                  <a:pt x="737" y="434"/>
                </a:lnTo>
                <a:lnTo>
                  <a:pt x="731" y="438"/>
                </a:lnTo>
                <a:lnTo>
                  <a:pt x="725" y="441"/>
                </a:lnTo>
                <a:lnTo>
                  <a:pt x="718" y="444"/>
                </a:lnTo>
                <a:lnTo>
                  <a:pt x="711" y="445"/>
                </a:lnTo>
                <a:lnTo>
                  <a:pt x="711" y="445"/>
                </a:lnTo>
                <a:close/>
                <a:moveTo>
                  <a:pt x="765" y="103"/>
                </a:moveTo>
                <a:lnTo>
                  <a:pt x="657" y="103"/>
                </a:lnTo>
                <a:lnTo>
                  <a:pt x="657" y="103"/>
                </a:lnTo>
                <a:lnTo>
                  <a:pt x="653" y="103"/>
                </a:lnTo>
                <a:lnTo>
                  <a:pt x="649" y="102"/>
                </a:lnTo>
                <a:lnTo>
                  <a:pt x="643" y="98"/>
                </a:lnTo>
                <a:lnTo>
                  <a:pt x="640" y="92"/>
                </a:lnTo>
                <a:lnTo>
                  <a:pt x="639" y="90"/>
                </a:lnTo>
                <a:lnTo>
                  <a:pt x="639" y="85"/>
                </a:lnTo>
                <a:lnTo>
                  <a:pt x="639" y="85"/>
                </a:lnTo>
                <a:lnTo>
                  <a:pt x="639" y="81"/>
                </a:lnTo>
                <a:lnTo>
                  <a:pt x="640" y="79"/>
                </a:lnTo>
                <a:lnTo>
                  <a:pt x="643" y="73"/>
                </a:lnTo>
                <a:lnTo>
                  <a:pt x="649" y="69"/>
                </a:lnTo>
                <a:lnTo>
                  <a:pt x="653" y="68"/>
                </a:lnTo>
                <a:lnTo>
                  <a:pt x="657" y="68"/>
                </a:lnTo>
                <a:lnTo>
                  <a:pt x="765" y="68"/>
                </a:lnTo>
                <a:lnTo>
                  <a:pt x="765" y="68"/>
                </a:lnTo>
                <a:lnTo>
                  <a:pt x="769" y="68"/>
                </a:lnTo>
                <a:lnTo>
                  <a:pt x="771" y="69"/>
                </a:lnTo>
                <a:lnTo>
                  <a:pt x="777" y="73"/>
                </a:lnTo>
                <a:lnTo>
                  <a:pt x="781" y="79"/>
                </a:lnTo>
                <a:lnTo>
                  <a:pt x="782" y="81"/>
                </a:lnTo>
                <a:lnTo>
                  <a:pt x="782" y="85"/>
                </a:lnTo>
                <a:lnTo>
                  <a:pt x="782" y="85"/>
                </a:lnTo>
                <a:lnTo>
                  <a:pt x="782" y="90"/>
                </a:lnTo>
                <a:lnTo>
                  <a:pt x="781" y="92"/>
                </a:lnTo>
                <a:lnTo>
                  <a:pt x="777" y="98"/>
                </a:lnTo>
                <a:lnTo>
                  <a:pt x="771" y="102"/>
                </a:lnTo>
                <a:lnTo>
                  <a:pt x="769" y="103"/>
                </a:lnTo>
                <a:lnTo>
                  <a:pt x="765" y="103"/>
                </a:lnTo>
                <a:lnTo>
                  <a:pt x="765" y="10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24" name="Freeform 206"/>
          <p:cNvSpPr>
            <a:spLocks noEditPoints="1"/>
          </p:cNvSpPr>
          <p:nvPr/>
        </p:nvSpPr>
        <p:spPr bwMode="auto">
          <a:xfrm>
            <a:off x="8471626" y="2142256"/>
            <a:ext cx="356144" cy="363856"/>
          </a:xfrm>
          <a:custGeom>
            <a:avLst/>
            <a:gdLst>
              <a:gd name="T0" fmla="*/ 272 w 736"/>
              <a:gd name="T1" fmla="*/ 192 h 738"/>
              <a:gd name="T2" fmla="*/ 183 w 736"/>
              <a:gd name="T3" fmla="*/ 290 h 738"/>
              <a:gd name="T4" fmla="*/ 171 w 736"/>
              <a:gd name="T5" fmla="*/ 410 h 738"/>
              <a:gd name="T6" fmla="*/ 241 w 736"/>
              <a:gd name="T7" fmla="*/ 524 h 738"/>
              <a:gd name="T8" fmla="*/ 368 w 736"/>
              <a:gd name="T9" fmla="*/ 570 h 738"/>
              <a:gd name="T10" fmla="*/ 480 w 736"/>
              <a:gd name="T11" fmla="*/ 535 h 738"/>
              <a:gd name="T12" fmla="*/ 559 w 736"/>
              <a:gd name="T13" fmla="*/ 429 h 738"/>
              <a:gd name="T14" fmla="*/ 559 w 736"/>
              <a:gd name="T15" fmla="*/ 309 h 738"/>
              <a:gd name="T16" fmla="*/ 480 w 736"/>
              <a:gd name="T17" fmla="*/ 203 h 738"/>
              <a:gd name="T18" fmla="*/ 368 w 736"/>
              <a:gd name="T19" fmla="*/ 168 h 738"/>
              <a:gd name="T20" fmla="*/ 319 w 736"/>
              <a:gd name="T21" fmla="*/ 460 h 738"/>
              <a:gd name="T22" fmla="*/ 272 w 736"/>
              <a:gd name="T23" fmla="*/ 410 h 738"/>
              <a:gd name="T24" fmla="*/ 266 w 736"/>
              <a:gd name="T25" fmla="*/ 347 h 738"/>
              <a:gd name="T26" fmla="*/ 302 w 736"/>
              <a:gd name="T27" fmla="*/ 288 h 738"/>
              <a:gd name="T28" fmla="*/ 368 w 736"/>
              <a:gd name="T29" fmla="*/ 264 h 738"/>
              <a:gd name="T30" fmla="*/ 427 w 736"/>
              <a:gd name="T31" fmla="*/ 282 h 738"/>
              <a:gd name="T32" fmla="*/ 468 w 736"/>
              <a:gd name="T33" fmla="*/ 337 h 738"/>
              <a:gd name="T34" fmla="*/ 468 w 736"/>
              <a:gd name="T35" fmla="*/ 400 h 738"/>
              <a:gd name="T36" fmla="*/ 427 w 736"/>
              <a:gd name="T37" fmla="*/ 456 h 738"/>
              <a:gd name="T38" fmla="*/ 368 w 736"/>
              <a:gd name="T39" fmla="*/ 474 h 738"/>
              <a:gd name="T40" fmla="*/ 19 w 736"/>
              <a:gd name="T41" fmla="*/ 19 h 738"/>
              <a:gd name="T42" fmla="*/ 1 w 736"/>
              <a:gd name="T43" fmla="*/ 685 h 738"/>
              <a:gd name="T44" fmla="*/ 67 w 736"/>
              <a:gd name="T45" fmla="*/ 738 h 738"/>
              <a:gd name="T46" fmla="*/ 724 w 736"/>
              <a:gd name="T47" fmla="*/ 707 h 738"/>
              <a:gd name="T48" fmla="*/ 731 w 736"/>
              <a:gd name="T49" fmla="*/ 41 h 738"/>
              <a:gd name="T50" fmla="*/ 668 w 736"/>
              <a:gd name="T51" fmla="*/ 0 h 738"/>
              <a:gd name="T52" fmla="*/ 131 w 736"/>
              <a:gd name="T53" fmla="*/ 80 h 738"/>
              <a:gd name="T54" fmla="*/ 131 w 736"/>
              <a:gd name="T55" fmla="*/ 122 h 738"/>
              <a:gd name="T56" fmla="*/ 93 w 736"/>
              <a:gd name="T57" fmla="*/ 137 h 738"/>
              <a:gd name="T58" fmla="*/ 63 w 736"/>
              <a:gd name="T59" fmla="*/ 100 h 738"/>
              <a:gd name="T60" fmla="*/ 85 w 736"/>
              <a:gd name="T61" fmla="*/ 66 h 738"/>
              <a:gd name="T62" fmla="*/ 85 w 736"/>
              <a:gd name="T63" fmla="*/ 671 h 738"/>
              <a:gd name="T64" fmla="*/ 63 w 736"/>
              <a:gd name="T65" fmla="*/ 638 h 738"/>
              <a:gd name="T66" fmla="*/ 93 w 736"/>
              <a:gd name="T67" fmla="*/ 600 h 738"/>
              <a:gd name="T68" fmla="*/ 131 w 736"/>
              <a:gd name="T69" fmla="*/ 616 h 738"/>
              <a:gd name="T70" fmla="*/ 131 w 736"/>
              <a:gd name="T71" fmla="*/ 658 h 738"/>
              <a:gd name="T72" fmla="*/ 368 w 736"/>
              <a:gd name="T73" fmla="*/ 641 h 738"/>
              <a:gd name="T74" fmla="*/ 216 w 736"/>
              <a:gd name="T75" fmla="*/ 594 h 738"/>
              <a:gd name="T76" fmla="*/ 108 w 736"/>
              <a:gd name="T77" fmla="*/ 450 h 738"/>
              <a:gd name="T78" fmla="*/ 108 w 736"/>
              <a:gd name="T79" fmla="*/ 288 h 738"/>
              <a:gd name="T80" fmla="*/ 216 w 736"/>
              <a:gd name="T81" fmla="*/ 143 h 738"/>
              <a:gd name="T82" fmla="*/ 368 w 736"/>
              <a:gd name="T83" fmla="*/ 96 h 738"/>
              <a:gd name="T84" fmla="*/ 541 w 736"/>
              <a:gd name="T85" fmla="*/ 159 h 738"/>
              <a:gd name="T86" fmla="*/ 634 w 736"/>
              <a:gd name="T87" fmla="*/ 313 h 738"/>
              <a:gd name="T88" fmla="*/ 618 w 736"/>
              <a:gd name="T89" fmla="*/ 475 h 738"/>
              <a:gd name="T90" fmla="*/ 498 w 736"/>
              <a:gd name="T91" fmla="*/ 609 h 738"/>
              <a:gd name="T92" fmla="*/ 636 w 736"/>
              <a:gd name="T93" fmla="*/ 675 h 738"/>
              <a:gd name="T94" fmla="*/ 601 w 736"/>
              <a:gd name="T95" fmla="*/ 652 h 738"/>
              <a:gd name="T96" fmla="*/ 608 w 736"/>
              <a:gd name="T97" fmla="*/ 610 h 738"/>
              <a:gd name="T98" fmla="*/ 650 w 736"/>
              <a:gd name="T99" fmla="*/ 603 h 738"/>
              <a:gd name="T100" fmla="*/ 673 w 736"/>
              <a:gd name="T101" fmla="*/ 638 h 738"/>
              <a:gd name="T102" fmla="*/ 643 w 736"/>
              <a:gd name="T103" fmla="*/ 674 h 738"/>
              <a:gd name="T104" fmla="*/ 614 w 736"/>
              <a:gd name="T105" fmla="*/ 131 h 738"/>
              <a:gd name="T106" fmla="*/ 599 w 736"/>
              <a:gd name="T107" fmla="*/ 93 h 738"/>
              <a:gd name="T108" fmla="*/ 636 w 736"/>
              <a:gd name="T109" fmla="*/ 63 h 738"/>
              <a:gd name="T110" fmla="*/ 670 w 736"/>
              <a:gd name="T111" fmla="*/ 86 h 738"/>
              <a:gd name="T112" fmla="*/ 662 w 736"/>
              <a:gd name="T113" fmla="*/ 128 h 7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36" h="738">
                <a:moveTo>
                  <a:pt x="368" y="168"/>
                </a:moveTo>
                <a:lnTo>
                  <a:pt x="368" y="168"/>
                </a:lnTo>
                <a:lnTo>
                  <a:pt x="347" y="169"/>
                </a:lnTo>
                <a:lnTo>
                  <a:pt x="327" y="171"/>
                </a:lnTo>
                <a:lnTo>
                  <a:pt x="308" y="177"/>
                </a:lnTo>
                <a:lnTo>
                  <a:pt x="290" y="183"/>
                </a:lnTo>
                <a:lnTo>
                  <a:pt x="272" y="192"/>
                </a:lnTo>
                <a:lnTo>
                  <a:pt x="256" y="203"/>
                </a:lnTo>
                <a:lnTo>
                  <a:pt x="241" y="213"/>
                </a:lnTo>
                <a:lnTo>
                  <a:pt x="226" y="227"/>
                </a:lnTo>
                <a:lnTo>
                  <a:pt x="213" y="241"/>
                </a:lnTo>
                <a:lnTo>
                  <a:pt x="202" y="257"/>
                </a:lnTo>
                <a:lnTo>
                  <a:pt x="191" y="272"/>
                </a:lnTo>
                <a:lnTo>
                  <a:pt x="183" y="290"/>
                </a:lnTo>
                <a:lnTo>
                  <a:pt x="177" y="309"/>
                </a:lnTo>
                <a:lnTo>
                  <a:pt x="171" y="328"/>
                </a:lnTo>
                <a:lnTo>
                  <a:pt x="168" y="348"/>
                </a:lnTo>
                <a:lnTo>
                  <a:pt x="167" y="369"/>
                </a:lnTo>
                <a:lnTo>
                  <a:pt x="167" y="369"/>
                </a:lnTo>
                <a:lnTo>
                  <a:pt x="168" y="389"/>
                </a:lnTo>
                <a:lnTo>
                  <a:pt x="171" y="410"/>
                </a:lnTo>
                <a:lnTo>
                  <a:pt x="177" y="429"/>
                </a:lnTo>
                <a:lnTo>
                  <a:pt x="183" y="447"/>
                </a:lnTo>
                <a:lnTo>
                  <a:pt x="191" y="465"/>
                </a:lnTo>
                <a:lnTo>
                  <a:pt x="202" y="481"/>
                </a:lnTo>
                <a:lnTo>
                  <a:pt x="213" y="497"/>
                </a:lnTo>
                <a:lnTo>
                  <a:pt x="226" y="511"/>
                </a:lnTo>
                <a:lnTo>
                  <a:pt x="241" y="524"/>
                </a:lnTo>
                <a:lnTo>
                  <a:pt x="256" y="535"/>
                </a:lnTo>
                <a:lnTo>
                  <a:pt x="272" y="546"/>
                </a:lnTo>
                <a:lnTo>
                  <a:pt x="290" y="554"/>
                </a:lnTo>
                <a:lnTo>
                  <a:pt x="308" y="560"/>
                </a:lnTo>
                <a:lnTo>
                  <a:pt x="327" y="566"/>
                </a:lnTo>
                <a:lnTo>
                  <a:pt x="347" y="569"/>
                </a:lnTo>
                <a:lnTo>
                  <a:pt x="368" y="570"/>
                </a:lnTo>
                <a:lnTo>
                  <a:pt x="368" y="570"/>
                </a:lnTo>
                <a:lnTo>
                  <a:pt x="388" y="569"/>
                </a:lnTo>
                <a:lnTo>
                  <a:pt x="409" y="566"/>
                </a:lnTo>
                <a:lnTo>
                  <a:pt x="428" y="560"/>
                </a:lnTo>
                <a:lnTo>
                  <a:pt x="446" y="554"/>
                </a:lnTo>
                <a:lnTo>
                  <a:pt x="464" y="546"/>
                </a:lnTo>
                <a:lnTo>
                  <a:pt x="480" y="535"/>
                </a:lnTo>
                <a:lnTo>
                  <a:pt x="495" y="524"/>
                </a:lnTo>
                <a:lnTo>
                  <a:pt x="510" y="511"/>
                </a:lnTo>
                <a:lnTo>
                  <a:pt x="523" y="497"/>
                </a:lnTo>
                <a:lnTo>
                  <a:pt x="534" y="481"/>
                </a:lnTo>
                <a:lnTo>
                  <a:pt x="545" y="465"/>
                </a:lnTo>
                <a:lnTo>
                  <a:pt x="553" y="447"/>
                </a:lnTo>
                <a:lnTo>
                  <a:pt x="559" y="429"/>
                </a:lnTo>
                <a:lnTo>
                  <a:pt x="565" y="410"/>
                </a:lnTo>
                <a:lnTo>
                  <a:pt x="567" y="389"/>
                </a:lnTo>
                <a:lnTo>
                  <a:pt x="569" y="369"/>
                </a:lnTo>
                <a:lnTo>
                  <a:pt x="569" y="369"/>
                </a:lnTo>
                <a:lnTo>
                  <a:pt x="567" y="348"/>
                </a:lnTo>
                <a:lnTo>
                  <a:pt x="565" y="328"/>
                </a:lnTo>
                <a:lnTo>
                  <a:pt x="559" y="309"/>
                </a:lnTo>
                <a:lnTo>
                  <a:pt x="553" y="290"/>
                </a:lnTo>
                <a:lnTo>
                  <a:pt x="545" y="272"/>
                </a:lnTo>
                <a:lnTo>
                  <a:pt x="534" y="257"/>
                </a:lnTo>
                <a:lnTo>
                  <a:pt x="523" y="241"/>
                </a:lnTo>
                <a:lnTo>
                  <a:pt x="510" y="227"/>
                </a:lnTo>
                <a:lnTo>
                  <a:pt x="495" y="213"/>
                </a:lnTo>
                <a:lnTo>
                  <a:pt x="480" y="203"/>
                </a:lnTo>
                <a:lnTo>
                  <a:pt x="464" y="192"/>
                </a:lnTo>
                <a:lnTo>
                  <a:pt x="446" y="183"/>
                </a:lnTo>
                <a:lnTo>
                  <a:pt x="428" y="177"/>
                </a:lnTo>
                <a:lnTo>
                  <a:pt x="409" y="171"/>
                </a:lnTo>
                <a:lnTo>
                  <a:pt x="388" y="169"/>
                </a:lnTo>
                <a:lnTo>
                  <a:pt x="368" y="168"/>
                </a:lnTo>
                <a:lnTo>
                  <a:pt x="368" y="168"/>
                </a:lnTo>
                <a:close/>
                <a:moveTo>
                  <a:pt x="368" y="474"/>
                </a:moveTo>
                <a:lnTo>
                  <a:pt x="368" y="474"/>
                </a:lnTo>
                <a:lnTo>
                  <a:pt x="357" y="472"/>
                </a:lnTo>
                <a:lnTo>
                  <a:pt x="346" y="471"/>
                </a:lnTo>
                <a:lnTo>
                  <a:pt x="337" y="469"/>
                </a:lnTo>
                <a:lnTo>
                  <a:pt x="327" y="465"/>
                </a:lnTo>
                <a:lnTo>
                  <a:pt x="319" y="460"/>
                </a:lnTo>
                <a:lnTo>
                  <a:pt x="309" y="456"/>
                </a:lnTo>
                <a:lnTo>
                  <a:pt x="302" y="450"/>
                </a:lnTo>
                <a:lnTo>
                  <a:pt x="295" y="442"/>
                </a:lnTo>
                <a:lnTo>
                  <a:pt x="287" y="435"/>
                </a:lnTo>
                <a:lnTo>
                  <a:pt x="281" y="428"/>
                </a:lnTo>
                <a:lnTo>
                  <a:pt x="277" y="418"/>
                </a:lnTo>
                <a:lnTo>
                  <a:pt x="272" y="410"/>
                </a:lnTo>
                <a:lnTo>
                  <a:pt x="268" y="400"/>
                </a:lnTo>
                <a:lnTo>
                  <a:pt x="266" y="390"/>
                </a:lnTo>
                <a:lnTo>
                  <a:pt x="265" y="380"/>
                </a:lnTo>
                <a:lnTo>
                  <a:pt x="263" y="369"/>
                </a:lnTo>
                <a:lnTo>
                  <a:pt x="263" y="369"/>
                </a:lnTo>
                <a:lnTo>
                  <a:pt x="265" y="358"/>
                </a:lnTo>
                <a:lnTo>
                  <a:pt x="266" y="347"/>
                </a:lnTo>
                <a:lnTo>
                  <a:pt x="268" y="337"/>
                </a:lnTo>
                <a:lnTo>
                  <a:pt x="272" y="328"/>
                </a:lnTo>
                <a:lnTo>
                  <a:pt x="277" y="319"/>
                </a:lnTo>
                <a:lnTo>
                  <a:pt x="281" y="310"/>
                </a:lnTo>
                <a:lnTo>
                  <a:pt x="287" y="303"/>
                </a:lnTo>
                <a:lnTo>
                  <a:pt x="295" y="295"/>
                </a:lnTo>
                <a:lnTo>
                  <a:pt x="302" y="288"/>
                </a:lnTo>
                <a:lnTo>
                  <a:pt x="309" y="282"/>
                </a:lnTo>
                <a:lnTo>
                  <a:pt x="319" y="277"/>
                </a:lnTo>
                <a:lnTo>
                  <a:pt x="327" y="272"/>
                </a:lnTo>
                <a:lnTo>
                  <a:pt x="337" y="269"/>
                </a:lnTo>
                <a:lnTo>
                  <a:pt x="346" y="266"/>
                </a:lnTo>
                <a:lnTo>
                  <a:pt x="357" y="265"/>
                </a:lnTo>
                <a:lnTo>
                  <a:pt x="368" y="264"/>
                </a:lnTo>
                <a:lnTo>
                  <a:pt x="368" y="264"/>
                </a:lnTo>
                <a:lnTo>
                  <a:pt x="379" y="265"/>
                </a:lnTo>
                <a:lnTo>
                  <a:pt x="390" y="266"/>
                </a:lnTo>
                <a:lnTo>
                  <a:pt x="399" y="269"/>
                </a:lnTo>
                <a:lnTo>
                  <a:pt x="409" y="272"/>
                </a:lnTo>
                <a:lnTo>
                  <a:pt x="417" y="277"/>
                </a:lnTo>
                <a:lnTo>
                  <a:pt x="427" y="282"/>
                </a:lnTo>
                <a:lnTo>
                  <a:pt x="434" y="288"/>
                </a:lnTo>
                <a:lnTo>
                  <a:pt x="441" y="295"/>
                </a:lnTo>
                <a:lnTo>
                  <a:pt x="448" y="303"/>
                </a:lnTo>
                <a:lnTo>
                  <a:pt x="454" y="310"/>
                </a:lnTo>
                <a:lnTo>
                  <a:pt x="459" y="319"/>
                </a:lnTo>
                <a:lnTo>
                  <a:pt x="464" y="328"/>
                </a:lnTo>
                <a:lnTo>
                  <a:pt x="468" y="337"/>
                </a:lnTo>
                <a:lnTo>
                  <a:pt x="470" y="347"/>
                </a:lnTo>
                <a:lnTo>
                  <a:pt x="471" y="358"/>
                </a:lnTo>
                <a:lnTo>
                  <a:pt x="472" y="369"/>
                </a:lnTo>
                <a:lnTo>
                  <a:pt x="472" y="369"/>
                </a:lnTo>
                <a:lnTo>
                  <a:pt x="471" y="380"/>
                </a:lnTo>
                <a:lnTo>
                  <a:pt x="470" y="390"/>
                </a:lnTo>
                <a:lnTo>
                  <a:pt x="468" y="400"/>
                </a:lnTo>
                <a:lnTo>
                  <a:pt x="464" y="410"/>
                </a:lnTo>
                <a:lnTo>
                  <a:pt x="459" y="418"/>
                </a:lnTo>
                <a:lnTo>
                  <a:pt x="454" y="428"/>
                </a:lnTo>
                <a:lnTo>
                  <a:pt x="448" y="435"/>
                </a:lnTo>
                <a:lnTo>
                  <a:pt x="441" y="442"/>
                </a:lnTo>
                <a:lnTo>
                  <a:pt x="434" y="450"/>
                </a:lnTo>
                <a:lnTo>
                  <a:pt x="427" y="456"/>
                </a:lnTo>
                <a:lnTo>
                  <a:pt x="417" y="460"/>
                </a:lnTo>
                <a:lnTo>
                  <a:pt x="409" y="465"/>
                </a:lnTo>
                <a:lnTo>
                  <a:pt x="399" y="469"/>
                </a:lnTo>
                <a:lnTo>
                  <a:pt x="390" y="471"/>
                </a:lnTo>
                <a:lnTo>
                  <a:pt x="379" y="472"/>
                </a:lnTo>
                <a:lnTo>
                  <a:pt x="368" y="474"/>
                </a:lnTo>
                <a:lnTo>
                  <a:pt x="368" y="474"/>
                </a:lnTo>
                <a:close/>
                <a:moveTo>
                  <a:pt x="668" y="0"/>
                </a:moveTo>
                <a:lnTo>
                  <a:pt x="67" y="0"/>
                </a:lnTo>
                <a:lnTo>
                  <a:pt x="67" y="0"/>
                </a:lnTo>
                <a:lnTo>
                  <a:pt x="53" y="1"/>
                </a:lnTo>
                <a:lnTo>
                  <a:pt x="41" y="5"/>
                </a:lnTo>
                <a:lnTo>
                  <a:pt x="30" y="12"/>
                </a:lnTo>
                <a:lnTo>
                  <a:pt x="19" y="19"/>
                </a:lnTo>
                <a:lnTo>
                  <a:pt x="12" y="30"/>
                </a:lnTo>
                <a:lnTo>
                  <a:pt x="5" y="41"/>
                </a:lnTo>
                <a:lnTo>
                  <a:pt x="1" y="53"/>
                </a:lnTo>
                <a:lnTo>
                  <a:pt x="0" y="68"/>
                </a:lnTo>
                <a:lnTo>
                  <a:pt x="0" y="670"/>
                </a:lnTo>
                <a:lnTo>
                  <a:pt x="0" y="670"/>
                </a:lnTo>
                <a:lnTo>
                  <a:pt x="1" y="685"/>
                </a:lnTo>
                <a:lnTo>
                  <a:pt x="5" y="697"/>
                </a:lnTo>
                <a:lnTo>
                  <a:pt x="12" y="707"/>
                </a:lnTo>
                <a:lnTo>
                  <a:pt x="19" y="718"/>
                </a:lnTo>
                <a:lnTo>
                  <a:pt x="30" y="725"/>
                </a:lnTo>
                <a:lnTo>
                  <a:pt x="41" y="733"/>
                </a:lnTo>
                <a:lnTo>
                  <a:pt x="53" y="736"/>
                </a:lnTo>
                <a:lnTo>
                  <a:pt x="67" y="738"/>
                </a:lnTo>
                <a:lnTo>
                  <a:pt x="668" y="738"/>
                </a:lnTo>
                <a:lnTo>
                  <a:pt x="668" y="738"/>
                </a:lnTo>
                <a:lnTo>
                  <a:pt x="683" y="736"/>
                </a:lnTo>
                <a:lnTo>
                  <a:pt x="695" y="733"/>
                </a:lnTo>
                <a:lnTo>
                  <a:pt x="706" y="725"/>
                </a:lnTo>
                <a:lnTo>
                  <a:pt x="716" y="718"/>
                </a:lnTo>
                <a:lnTo>
                  <a:pt x="724" y="707"/>
                </a:lnTo>
                <a:lnTo>
                  <a:pt x="731" y="697"/>
                </a:lnTo>
                <a:lnTo>
                  <a:pt x="734" y="685"/>
                </a:lnTo>
                <a:lnTo>
                  <a:pt x="736" y="670"/>
                </a:lnTo>
                <a:lnTo>
                  <a:pt x="736" y="68"/>
                </a:lnTo>
                <a:lnTo>
                  <a:pt x="736" y="68"/>
                </a:lnTo>
                <a:lnTo>
                  <a:pt x="734" y="53"/>
                </a:lnTo>
                <a:lnTo>
                  <a:pt x="731" y="41"/>
                </a:lnTo>
                <a:lnTo>
                  <a:pt x="724" y="30"/>
                </a:lnTo>
                <a:lnTo>
                  <a:pt x="716" y="19"/>
                </a:lnTo>
                <a:lnTo>
                  <a:pt x="706" y="12"/>
                </a:lnTo>
                <a:lnTo>
                  <a:pt x="695" y="5"/>
                </a:lnTo>
                <a:lnTo>
                  <a:pt x="683" y="1"/>
                </a:lnTo>
                <a:lnTo>
                  <a:pt x="668" y="0"/>
                </a:lnTo>
                <a:lnTo>
                  <a:pt x="668" y="0"/>
                </a:lnTo>
                <a:close/>
                <a:moveTo>
                  <a:pt x="100" y="63"/>
                </a:moveTo>
                <a:lnTo>
                  <a:pt x="100" y="63"/>
                </a:lnTo>
                <a:lnTo>
                  <a:pt x="108" y="64"/>
                </a:lnTo>
                <a:lnTo>
                  <a:pt x="116" y="66"/>
                </a:lnTo>
                <a:lnTo>
                  <a:pt x="122" y="70"/>
                </a:lnTo>
                <a:lnTo>
                  <a:pt x="128" y="74"/>
                </a:lnTo>
                <a:lnTo>
                  <a:pt x="131" y="80"/>
                </a:lnTo>
                <a:lnTo>
                  <a:pt x="135" y="86"/>
                </a:lnTo>
                <a:lnTo>
                  <a:pt x="137" y="93"/>
                </a:lnTo>
                <a:lnTo>
                  <a:pt x="138" y="100"/>
                </a:lnTo>
                <a:lnTo>
                  <a:pt x="138" y="100"/>
                </a:lnTo>
                <a:lnTo>
                  <a:pt x="137" y="109"/>
                </a:lnTo>
                <a:lnTo>
                  <a:pt x="135" y="116"/>
                </a:lnTo>
                <a:lnTo>
                  <a:pt x="131" y="122"/>
                </a:lnTo>
                <a:lnTo>
                  <a:pt x="128" y="128"/>
                </a:lnTo>
                <a:lnTo>
                  <a:pt x="122" y="131"/>
                </a:lnTo>
                <a:lnTo>
                  <a:pt x="116" y="135"/>
                </a:lnTo>
                <a:lnTo>
                  <a:pt x="108" y="137"/>
                </a:lnTo>
                <a:lnTo>
                  <a:pt x="100" y="139"/>
                </a:lnTo>
                <a:lnTo>
                  <a:pt x="100" y="139"/>
                </a:lnTo>
                <a:lnTo>
                  <a:pt x="93" y="137"/>
                </a:lnTo>
                <a:lnTo>
                  <a:pt x="85" y="135"/>
                </a:lnTo>
                <a:lnTo>
                  <a:pt x="79" y="131"/>
                </a:lnTo>
                <a:lnTo>
                  <a:pt x="73" y="128"/>
                </a:lnTo>
                <a:lnTo>
                  <a:pt x="70" y="122"/>
                </a:lnTo>
                <a:lnTo>
                  <a:pt x="66" y="116"/>
                </a:lnTo>
                <a:lnTo>
                  <a:pt x="64" y="109"/>
                </a:lnTo>
                <a:lnTo>
                  <a:pt x="63" y="100"/>
                </a:lnTo>
                <a:lnTo>
                  <a:pt x="63" y="100"/>
                </a:lnTo>
                <a:lnTo>
                  <a:pt x="64" y="93"/>
                </a:lnTo>
                <a:lnTo>
                  <a:pt x="66" y="86"/>
                </a:lnTo>
                <a:lnTo>
                  <a:pt x="70" y="80"/>
                </a:lnTo>
                <a:lnTo>
                  <a:pt x="73" y="74"/>
                </a:lnTo>
                <a:lnTo>
                  <a:pt x="79" y="70"/>
                </a:lnTo>
                <a:lnTo>
                  <a:pt x="85" y="66"/>
                </a:lnTo>
                <a:lnTo>
                  <a:pt x="93" y="64"/>
                </a:lnTo>
                <a:lnTo>
                  <a:pt x="100" y="63"/>
                </a:lnTo>
                <a:lnTo>
                  <a:pt x="100" y="63"/>
                </a:lnTo>
                <a:close/>
                <a:moveTo>
                  <a:pt x="100" y="675"/>
                </a:moveTo>
                <a:lnTo>
                  <a:pt x="100" y="675"/>
                </a:lnTo>
                <a:lnTo>
                  <a:pt x="93" y="674"/>
                </a:lnTo>
                <a:lnTo>
                  <a:pt x="85" y="671"/>
                </a:lnTo>
                <a:lnTo>
                  <a:pt x="79" y="668"/>
                </a:lnTo>
                <a:lnTo>
                  <a:pt x="73" y="664"/>
                </a:lnTo>
                <a:lnTo>
                  <a:pt x="70" y="658"/>
                </a:lnTo>
                <a:lnTo>
                  <a:pt x="66" y="652"/>
                </a:lnTo>
                <a:lnTo>
                  <a:pt x="64" y="645"/>
                </a:lnTo>
                <a:lnTo>
                  <a:pt x="63" y="638"/>
                </a:lnTo>
                <a:lnTo>
                  <a:pt x="63" y="638"/>
                </a:lnTo>
                <a:lnTo>
                  <a:pt x="64" y="629"/>
                </a:lnTo>
                <a:lnTo>
                  <a:pt x="66" y="622"/>
                </a:lnTo>
                <a:lnTo>
                  <a:pt x="70" y="616"/>
                </a:lnTo>
                <a:lnTo>
                  <a:pt x="73" y="610"/>
                </a:lnTo>
                <a:lnTo>
                  <a:pt x="79" y="606"/>
                </a:lnTo>
                <a:lnTo>
                  <a:pt x="85" y="603"/>
                </a:lnTo>
                <a:lnTo>
                  <a:pt x="93" y="600"/>
                </a:lnTo>
                <a:lnTo>
                  <a:pt x="100" y="599"/>
                </a:lnTo>
                <a:lnTo>
                  <a:pt x="100" y="599"/>
                </a:lnTo>
                <a:lnTo>
                  <a:pt x="108" y="600"/>
                </a:lnTo>
                <a:lnTo>
                  <a:pt x="116" y="603"/>
                </a:lnTo>
                <a:lnTo>
                  <a:pt x="122" y="606"/>
                </a:lnTo>
                <a:lnTo>
                  <a:pt x="128" y="610"/>
                </a:lnTo>
                <a:lnTo>
                  <a:pt x="131" y="616"/>
                </a:lnTo>
                <a:lnTo>
                  <a:pt x="135" y="622"/>
                </a:lnTo>
                <a:lnTo>
                  <a:pt x="137" y="629"/>
                </a:lnTo>
                <a:lnTo>
                  <a:pt x="138" y="638"/>
                </a:lnTo>
                <a:lnTo>
                  <a:pt x="138" y="638"/>
                </a:lnTo>
                <a:lnTo>
                  <a:pt x="137" y="645"/>
                </a:lnTo>
                <a:lnTo>
                  <a:pt x="135" y="652"/>
                </a:lnTo>
                <a:lnTo>
                  <a:pt x="131" y="658"/>
                </a:lnTo>
                <a:lnTo>
                  <a:pt x="128" y="664"/>
                </a:lnTo>
                <a:lnTo>
                  <a:pt x="122" y="668"/>
                </a:lnTo>
                <a:lnTo>
                  <a:pt x="116" y="671"/>
                </a:lnTo>
                <a:lnTo>
                  <a:pt x="108" y="674"/>
                </a:lnTo>
                <a:lnTo>
                  <a:pt x="100" y="675"/>
                </a:lnTo>
                <a:lnTo>
                  <a:pt x="100" y="675"/>
                </a:lnTo>
                <a:close/>
                <a:moveTo>
                  <a:pt x="368" y="641"/>
                </a:moveTo>
                <a:lnTo>
                  <a:pt x="368" y="641"/>
                </a:lnTo>
                <a:lnTo>
                  <a:pt x="340" y="640"/>
                </a:lnTo>
                <a:lnTo>
                  <a:pt x="313" y="635"/>
                </a:lnTo>
                <a:lnTo>
                  <a:pt x="287" y="629"/>
                </a:lnTo>
                <a:lnTo>
                  <a:pt x="262" y="619"/>
                </a:lnTo>
                <a:lnTo>
                  <a:pt x="238" y="609"/>
                </a:lnTo>
                <a:lnTo>
                  <a:pt x="216" y="594"/>
                </a:lnTo>
                <a:lnTo>
                  <a:pt x="195" y="578"/>
                </a:lnTo>
                <a:lnTo>
                  <a:pt x="176" y="562"/>
                </a:lnTo>
                <a:lnTo>
                  <a:pt x="159" y="542"/>
                </a:lnTo>
                <a:lnTo>
                  <a:pt x="143" y="521"/>
                </a:lnTo>
                <a:lnTo>
                  <a:pt x="129" y="499"/>
                </a:lnTo>
                <a:lnTo>
                  <a:pt x="118" y="475"/>
                </a:lnTo>
                <a:lnTo>
                  <a:pt x="108" y="450"/>
                </a:lnTo>
                <a:lnTo>
                  <a:pt x="102" y="424"/>
                </a:lnTo>
                <a:lnTo>
                  <a:pt x="97" y="397"/>
                </a:lnTo>
                <a:lnTo>
                  <a:pt x="96" y="369"/>
                </a:lnTo>
                <a:lnTo>
                  <a:pt x="96" y="369"/>
                </a:lnTo>
                <a:lnTo>
                  <a:pt x="97" y="341"/>
                </a:lnTo>
                <a:lnTo>
                  <a:pt x="102" y="313"/>
                </a:lnTo>
                <a:lnTo>
                  <a:pt x="108" y="288"/>
                </a:lnTo>
                <a:lnTo>
                  <a:pt x="118" y="263"/>
                </a:lnTo>
                <a:lnTo>
                  <a:pt x="129" y="239"/>
                </a:lnTo>
                <a:lnTo>
                  <a:pt x="143" y="217"/>
                </a:lnTo>
                <a:lnTo>
                  <a:pt x="159" y="195"/>
                </a:lnTo>
                <a:lnTo>
                  <a:pt x="176" y="176"/>
                </a:lnTo>
                <a:lnTo>
                  <a:pt x="195" y="159"/>
                </a:lnTo>
                <a:lnTo>
                  <a:pt x="216" y="143"/>
                </a:lnTo>
                <a:lnTo>
                  <a:pt x="238" y="129"/>
                </a:lnTo>
                <a:lnTo>
                  <a:pt x="262" y="118"/>
                </a:lnTo>
                <a:lnTo>
                  <a:pt x="287" y="109"/>
                </a:lnTo>
                <a:lnTo>
                  <a:pt x="313" y="103"/>
                </a:lnTo>
                <a:lnTo>
                  <a:pt x="340" y="98"/>
                </a:lnTo>
                <a:lnTo>
                  <a:pt x="368" y="96"/>
                </a:lnTo>
                <a:lnTo>
                  <a:pt x="368" y="96"/>
                </a:lnTo>
                <a:lnTo>
                  <a:pt x="396" y="98"/>
                </a:lnTo>
                <a:lnTo>
                  <a:pt x="423" y="103"/>
                </a:lnTo>
                <a:lnTo>
                  <a:pt x="448" y="109"/>
                </a:lnTo>
                <a:lnTo>
                  <a:pt x="474" y="118"/>
                </a:lnTo>
                <a:lnTo>
                  <a:pt x="498" y="129"/>
                </a:lnTo>
                <a:lnTo>
                  <a:pt x="519" y="143"/>
                </a:lnTo>
                <a:lnTo>
                  <a:pt x="541" y="159"/>
                </a:lnTo>
                <a:lnTo>
                  <a:pt x="560" y="176"/>
                </a:lnTo>
                <a:lnTo>
                  <a:pt x="577" y="195"/>
                </a:lnTo>
                <a:lnTo>
                  <a:pt x="593" y="217"/>
                </a:lnTo>
                <a:lnTo>
                  <a:pt x="607" y="239"/>
                </a:lnTo>
                <a:lnTo>
                  <a:pt x="618" y="263"/>
                </a:lnTo>
                <a:lnTo>
                  <a:pt x="628" y="288"/>
                </a:lnTo>
                <a:lnTo>
                  <a:pt x="634" y="313"/>
                </a:lnTo>
                <a:lnTo>
                  <a:pt x="638" y="341"/>
                </a:lnTo>
                <a:lnTo>
                  <a:pt x="640" y="369"/>
                </a:lnTo>
                <a:lnTo>
                  <a:pt x="640" y="369"/>
                </a:lnTo>
                <a:lnTo>
                  <a:pt x="638" y="397"/>
                </a:lnTo>
                <a:lnTo>
                  <a:pt x="634" y="424"/>
                </a:lnTo>
                <a:lnTo>
                  <a:pt x="628" y="450"/>
                </a:lnTo>
                <a:lnTo>
                  <a:pt x="618" y="475"/>
                </a:lnTo>
                <a:lnTo>
                  <a:pt x="607" y="499"/>
                </a:lnTo>
                <a:lnTo>
                  <a:pt x="593" y="521"/>
                </a:lnTo>
                <a:lnTo>
                  <a:pt x="577" y="542"/>
                </a:lnTo>
                <a:lnTo>
                  <a:pt x="560" y="562"/>
                </a:lnTo>
                <a:lnTo>
                  <a:pt x="541" y="578"/>
                </a:lnTo>
                <a:lnTo>
                  <a:pt x="519" y="594"/>
                </a:lnTo>
                <a:lnTo>
                  <a:pt x="498" y="609"/>
                </a:lnTo>
                <a:lnTo>
                  <a:pt x="474" y="619"/>
                </a:lnTo>
                <a:lnTo>
                  <a:pt x="448" y="629"/>
                </a:lnTo>
                <a:lnTo>
                  <a:pt x="423" y="635"/>
                </a:lnTo>
                <a:lnTo>
                  <a:pt x="396" y="640"/>
                </a:lnTo>
                <a:lnTo>
                  <a:pt x="368" y="641"/>
                </a:lnTo>
                <a:lnTo>
                  <a:pt x="368" y="641"/>
                </a:lnTo>
                <a:close/>
                <a:moveTo>
                  <a:pt x="636" y="675"/>
                </a:moveTo>
                <a:lnTo>
                  <a:pt x="636" y="675"/>
                </a:lnTo>
                <a:lnTo>
                  <a:pt x="628" y="674"/>
                </a:lnTo>
                <a:lnTo>
                  <a:pt x="620" y="671"/>
                </a:lnTo>
                <a:lnTo>
                  <a:pt x="614" y="668"/>
                </a:lnTo>
                <a:lnTo>
                  <a:pt x="608" y="664"/>
                </a:lnTo>
                <a:lnTo>
                  <a:pt x="605" y="658"/>
                </a:lnTo>
                <a:lnTo>
                  <a:pt x="601" y="652"/>
                </a:lnTo>
                <a:lnTo>
                  <a:pt x="599" y="645"/>
                </a:lnTo>
                <a:lnTo>
                  <a:pt x="597" y="638"/>
                </a:lnTo>
                <a:lnTo>
                  <a:pt x="597" y="638"/>
                </a:lnTo>
                <a:lnTo>
                  <a:pt x="599" y="629"/>
                </a:lnTo>
                <a:lnTo>
                  <a:pt x="601" y="622"/>
                </a:lnTo>
                <a:lnTo>
                  <a:pt x="605" y="616"/>
                </a:lnTo>
                <a:lnTo>
                  <a:pt x="608" y="610"/>
                </a:lnTo>
                <a:lnTo>
                  <a:pt x="614" y="606"/>
                </a:lnTo>
                <a:lnTo>
                  <a:pt x="620" y="603"/>
                </a:lnTo>
                <a:lnTo>
                  <a:pt x="628" y="600"/>
                </a:lnTo>
                <a:lnTo>
                  <a:pt x="636" y="599"/>
                </a:lnTo>
                <a:lnTo>
                  <a:pt x="636" y="599"/>
                </a:lnTo>
                <a:lnTo>
                  <a:pt x="643" y="600"/>
                </a:lnTo>
                <a:lnTo>
                  <a:pt x="650" y="603"/>
                </a:lnTo>
                <a:lnTo>
                  <a:pt x="656" y="606"/>
                </a:lnTo>
                <a:lnTo>
                  <a:pt x="662" y="610"/>
                </a:lnTo>
                <a:lnTo>
                  <a:pt x="666" y="616"/>
                </a:lnTo>
                <a:lnTo>
                  <a:pt x="670" y="622"/>
                </a:lnTo>
                <a:lnTo>
                  <a:pt x="672" y="629"/>
                </a:lnTo>
                <a:lnTo>
                  <a:pt x="673" y="638"/>
                </a:lnTo>
                <a:lnTo>
                  <a:pt x="673" y="638"/>
                </a:lnTo>
                <a:lnTo>
                  <a:pt x="672" y="645"/>
                </a:lnTo>
                <a:lnTo>
                  <a:pt x="670" y="652"/>
                </a:lnTo>
                <a:lnTo>
                  <a:pt x="666" y="658"/>
                </a:lnTo>
                <a:lnTo>
                  <a:pt x="662" y="664"/>
                </a:lnTo>
                <a:lnTo>
                  <a:pt x="656" y="668"/>
                </a:lnTo>
                <a:lnTo>
                  <a:pt x="650" y="671"/>
                </a:lnTo>
                <a:lnTo>
                  <a:pt x="643" y="674"/>
                </a:lnTo>
                <a:lnTo>
                  <a:pt x="636" y="675"/>
                </a:lnTo>
                <a:lnTo>
                  <a:pt x="636" y="675"/>
                </a:lnTo>
                <a:close/>
                <a:moveTo>
                  <a:pt x="636" y="139"/>
                </a:moveTo>
                <a:lnTo>
                  <a:pt x="636" y="139"/>
                </a:lnTo>
                <a:lnTo>
                  <a:pt x="628" y="137"/>
                </a:lnTo>
                <a:lnTo>
                  <a:pt x="620" y="135"/>
                </a:lnTo>
                <a:lnTo>
                  <a:pt x="614" y="131"/>
                </a:lnTo>
                <a:lnTo>
                  <a:pt x="608" y="128"/>
                </a:lnTo>
                <a:lnTo>
                  <a:pt x="605" y="122"/>
                </a:lnTo>
                <a:lnTo>
                  <a:pt x="601" y="116"/>
                </a:lnTo>
                <a:lnTo>
                  <a:pt x="599" y="109"/>
                </a:lnTo>
                <a:lnTo>
                  <a:pt x="597" y="100"/>
                </a:lnTo>
                <a:lnTo>
                  <a:pt x="597" y="100"/>
                </a:lnTo>
                <a:lnTo>
                  <a:pt x="599" y="93"/>
                </a:lnTo>
                <a:lnTo>
                  <a:pt x="601" y="86"/>
                </a:lnTo>
                <a:lnTo>
                  <a:pt x="605" y="80"/>
                </a:lnTo>
                <a:lnTo>
                  <a:pt x="608" y="74"/>
                </a:lnTo>
                <a:lnTo>
                  <a:pt x="614" y="70"/>
                </a:lnTo>
                <a:lnTo>
                  <a:pt x="620" y="66"/>
                </a:lnTo>
                <a:lnTo>
                  <a:pt x="628" y="64"/>
                </a:lnTo>
                <a:lnTo>
                  <a:pt x="636" y="63"/>
                </a:lnTo>
                <a:lnTo>
                  <a:pt x="636" y="63"/>
                </a:lnTo>
                <a:lnTo>
                  <a:pt x="643" y="64"/>
                </a:lnTo>
                <a:lnTo>
                  <a:pt x="650" y="66"/>
                </a:lnTo>
                <a:lnTo>
                  <a:pt x="656" y="70"/>
                </a:lnTo>
                <a:lnTo>
                  <a:pt x="662" y="74"/>
                </a:lnTo>
                <a:lnTo>
                  <a:pt x="666" y="80"/>
                </a:lnTo>
                <a:lnTo>
                  <a:pt x="670" y="86"/>
                </a:lnTo>
                <a:lnTo>
                  <a:pt x="672" y="93"/>
                </a:lnTo>
                <a:lnTo>
                  <a:pt x="673" y="100"/>
                </a:lnTo>
                <a:lnTo>
                  <a:pt x="673" y="100"/>
                </a:lnTo>
                <a:lnTo>
                  <a:pt x="672" y="109"/>
                </a:lnTo>
                <a:lnTo>
                  <a:pt x="670" y="116"/>
                </a:lnTo>
                <a:lnTo>
                  <a:pt x="666" y="122"/>
                </a:lnTo>
                <a:lnTo>
                  <a:pt x="662" y="128"/>
                </a:lnTo>
                <a:lnTo>
                  <a:pt x="656" y="131"/>
                </a:lnTo>
                <a:lnTo>
                  <a:pt x="650" y="135"/>
                </a:lnTo>
                <a:lnTo>
                  <a:pt x="643" y="137"/>
                </a:lnTo>
                <a:lnTo>
                  <a:pt x="636" y="139"/>
                </a:lnTo>
                <a:lnTo>
                  <a:pt x="636" y="13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39" name="Freeform 8"/>
          <p:cNvSpPr>
            <a:spLocks noEditPoints="1"/>
          </p:cNvSpPr>
          <p:nvPr/>
        </p:nvSpPr>
        <p:spPr bwMode="auto">
          <a:xfrm>
            <a:off x="4024506" y="4442354"/>
            <a:ext cx="399743" cy="283450"/>
          </a:xfrm>
          <a:custGeom>
            <a:avLst/>
            <a:gdLst>
              <a:gd name="T0" fmla="*/ 747 w 1356"/>
              <a:gd name="T1" fmla="*/ 10 h 907"/>
              <a:gd name="T2" fmla="*/ 630 w 1356"/>
              <a:gd name="T3" fmla="*/ 1 h 907"/>
              <a:gd name="T4" fmla="*/ 574 w 1356"/>
              <a:gd name="T5" fmla="*/ 66 h 907"/>
              <a:gd name="T6" fmla="*/ 377 w 1356"/>
              <a:gd name="T7" fmla="*/ 100 h 907"/>
              <a:gd name="T8" fmla="*/ 187 w 1356"/>
              <a:gd name="T9" fmla="*/ 215 h 907"/>
              <a:gd name="T10" fmla="*/ 56 w 1356"/>
              <a:gd name="T11" fmla="*/ 391 h 907"/>
              <a:gd name="T12" fmla="*/ 0 w 1356"/>
              <a:gd name="T13" fmla="*/ 609 h 907"/>
              <a:gd name="T14" fmla="*/ 7 w 1356"/>
              <a:gd name="T15" fmla="*/ 829 h 907"/>
              <a:gd name="T16" fmla="*/ 50 w 1356"/>
              <a:gd name="T17" fmla="*/ 896 h 907"/>
              <a:gd name="T18" fmla="*/ 118 w 1356"/>
              <a:gd name="T19" fmla="*/ 904 h 907"/>
              <a:gd name="T20" fmla="*/ 284 w 1356"/>
              <a:gd name="T21" fmla="*/ 794 h 907"/>
              <a:gd name="T22" fmla="*/ 519 w 1356"/>
              <a:gd name="T23" fmla="*/ 629 h 907"/>
              <a:gd name="T24" fmla="*/ 678 w 1356"/>
              <a:gd name="T25" fmla="*/ 596 h 907"/>
              <a:gd name="T26" fmla="*/ 808 w 1356"/>
              <a:gd name="T27" fmla="*/ 618 h 907"/>
              <a:gd name="T28" fmla="*/ 1022 w 1356"/>
              <a:gd name="T29" fmla="*/ 752 h 907"/>
              <a:gd name="T30" fmla="*/ 1228 w 1356"/>
              <a:gd name="T31" fmla="*/ 901 h 907"/>
              <a:gd name="T32" fmla="*/ 1299 w 1356"/>
              <a:gd name="T33" fmla="*/ 899 h 907"/>
              <a:gd name="T34" fmla="*/ 1344 w 1356"/>
              <a:gd name="T35" fmla="*/ 841 h 907"/>
              <a:gd name="T36" fmla="*/ 1356 w 1356"/>
              <a:gd name="T37" fmla="*/ 639 h 907"/>
              <a:gd name="T38" fmla="*/ 1311 w 1356"/>
              <a:gd name="T39" fmla="*/ 416 h 907"/>
              <a:gd name="T40" fmla="*/ 1188 w 1356"/>
              <a:gd name="T41" fmla="*/ 233 h 907"/>
              <a:gd name="T42" fmla="*/ 1005 w 1356"/>
              <a:gd name="T43" fmla="*/ 111 h 907"/>
              <a:gd name="T44" fmla="*/ 782 w 1356"/>
              <a:gd name="T45" fmla="*/ 66 h 907"/>
              <a:gd name="T46" fmla="*/ 366 w 1356"/>
              <a:gd name="T47" fmla="*/ 515 h 907"/>
              <a:gd name="T48" fmla="*/ 338 w 1356"/>
              <a:gd name="T49" fmla="*/ 612 h 907"/>
              <a:gd name="T50" fmla="*/ 295 w 1356"/>
              <a:gd name="T51" fmla="*/ 606 h 907"/>
              <a:gd name="T52" fmla="*/ 265 w 1356"/>
              <a:gd name="T53" fmla="*/ 509 h 907"/>
              <a:gd name="T54" fmla="*/ 170 w 1356"/>
              <a:gd name="T55" fmla="*/ 478 h 907"/>
              <a:gd name="T56" fmla="*/ 143 w 1356"/>
              <a:gd name="T57" fmla="*/ 435 h 907"/>
              <a:gd name="T58" fmla="*/ 206 w 1356"/>
              <a:gd name="T59" fmla="*/ 394 h 907"/>
              <a:gd name="T60" fmla="*/ 274 w 1356"/>
              <a:gd name="T61" fmla="*/ 326 h 907"/>
              <a:gd name="T62" fmla="*/ 315 w 1356"/>
              <a:gd name="T63" fmla="*/ 263 h 907"/>
              <a:gd name="T64" fmla="*/ 358 w 1356"/>
              <a:gd name="T65" fmla="*/ 290 h 907"/>
              <a:gd name="T66" fmla="*/ 385 w 1356"/>
              <a:gd name="T67" fmla="*/ 388 h 907"/>
              <a:gd name="T68" fmla="*/ 487 w 1356"/>
              <a:gd name="T69" fmla="*/ 415 h 907"/>
              <a:gd name="T70" fmla="*/ 492 w 1356"/>
              <a:gd name="T71" fmla="*/ 458 h 907"/>
              <a:gd name="T72" fmla="*/ 908 w 1356"/>
              <a:gd name="T73" fmla="*/ 436 h 907"/>
              <a:gd name="T74" fmla="*/ 839 w 1356"/>
              <a:gd name="T75" fmla="*/ 457 h 907"/>
              <a:gd name="T76" fmla="*/ 805 w 1356"/>
              <a:gd name="T77" fmla="*/ 393 h 907"/>
              <a:gd name="T78" fmla="*/ 861 w 1356"/>
              <a:gd name="T79" fmla="*/ 348 h 907"/>
              <a:gd name="T80" fmla="*/ 917 w 1356"/>
              <a:gd name="T81" fmla="*/ 393 h 907"/>
              <a:gd name="T82" fmla="*/ 912 w 1356"/>
              <a:gd name="T83" fmla="*/ 230 h 907"/>
              <a:gd name="T84" fmla="*/ 983 w 1356"/>
              <a:gd name="T85" fmla="*/ 223 h 907"/>
              <a:gd name="T86" fmla="*/ 998 w 1356"/>
              <a:gd name="T87" fmla="*/ 302 h 907"/>
              <a:gd name="T88" fmla="*/ 930 w 1356"/>
              <a:gd name="T89" fmla="*/ 323 h 907"/>
              <a:gd name="T90" fmla="*/ 895 w 1356"/>
              <a:gd name="T91" fmla="*/ 259 h 907"/>
              <a:gd name="T92" fmla="*/ 1008 w 1356"/>
              <a:gd name="T93" fmla="*/ 541 h 907"/>
              <a:gd name="T94" fmla="*/ 939 w 1356"/>
              <a:gd name="T95" fmla="*/ 520 h 907"/>
              <a:gd name="T96" fmla="*/ 946 w 1356"/>
              <a:gd name="T97" fmla="*/ 448 h 907"/>
              <a:gd name="T98" fmla="*/ 1018 w 1356"/>
              <a:gd name="T99" fmla="*/ 442 h 907"/>
              <a:gd name="T100" fmla="*/ 1033 w 1356"/>
              <a:gd name="T101" fmla="*/ 521 h 907"/>
              <a:gd name="T102" fmla="*/ 1078 w 1356"/>
              <a:gd name="T103" fmla="*/ 412 h 907"/>
              <a:gd name="T104" fmla="*/ 1021 w 1356"/>
              <a:gd name="T105" fmla="*/ 365 h 907"/>
              <a:gd name="T106" fmla="*/ 1056 w 1356"/>
              <a:gd name="T107" fmla="*/ 302 h 907"/>
              <a:gd name="T108" fmla="*/ 1125 w 1356"/>
              <a:gd name="T109" fmla="*/ 324 h 907"/>
              <a:gd name="T110" fmla="*/ 1250 w 1356"/>
              <a:gd name="T111" fmla="*/ 471 h 907"/>
              <a:gd name="T112" fmla="*/ 1182 w 1356"/>
              <a:gd name="T113" fmla="*/ 492 h 907"/>
              <a:gd name="T114" fmla="*/ 1147 w 1356"/>
              <a:gd name="T115" fmla="*/ 428 h 907"/>
              <a:gd name="T116" fmla="*/ 1202 w 1356"/>
              <a:gd name="T117" fmla="*/ 382 h 907"/>
              <a:gd name="T118" fmla="*/ 1259 w 1356"/>
              <a:gd name="T119" fmla="*/ 428 h 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356" h="907">
                <a:moveTo>
                  <a:pt x="782" y="66"/>
                </a:moveTo>
                <a:lnTo>
                  <a:pt x="778" y="66"/>
                </a:lnTo>
                <a:lnTo>
                  <a:pt x="778" y="66"/>
                </a:lnTo>
                <a:lnTo>
                  <a:pt x="775" y="52"/>
                </a:lnTo>
                <a:lnTo>
                  <a:pt x="771" y="40"/>
                </a:lnTo>
                <a:lnTo>
                  <a:pt x="764" y="28"/>
                </a:lnTo>
                <a:lnTo>
                  <a:pt x="757" y="18"/>
                </a:lnTo>
                <a:lnTo>
                  <a:pt x="747" y="10"/>
                </a:lnTo>
                <a:lnTo>
                  <a:pt x="737" y="4"/>
                </a:lnTo>
                <a:lnTo>
                  <a:pt x="726" y="1"/>
                </a:lnTo>
                <a:lnTo>
                  <a:pt x="721" y="0"/>
                </a:lnTo>
                <a:lnTo>
                  <a:pt x="715" y="0"/>
                </a:lnTo>
                <a:lnTo>
                  <a:pt x="641" y="0"/>
                </a:lnTo>
                <a:lnTo>
                  <a:pt x="641" y="0"/>
                </a:lnTo>
                <a:lnTo>
                  <a:pt x="635" y="0"/>
                </a:lnTo>
                <a:lnTo>
                  <a:pt x="630" y="1"/>
                </a:lnTo>
                <a:lnTo>
                  <a:pt x="619" y="4"/>
                </a:lnTo>
                <a:lnTo>
                  <a:pt x="608" y="10"/>
                </a:lnTo>
                <a:lnTo>
                  <a:pt x="599" y="18"/>
                </a:lnTo>
                <a:lnTo>
                  <a:pt x="592" y="28"/>
                </a:lnTo>
                <a:lnTo>
                  <a:pt x="585" y="40"/>
                </a:lnTo>
                <a:lnTo>
                  <a:pt x="581" y="52"/>
                </a:lnTo>
                <a:lnTo>
                  <a:pt x="578" y="66"/>
                </a:lnTo>
                <a:lnTo>
                  <a:pt x="574" y="66"/>
                </a:lnTo>
                <a:lnTo>
                  <a:pt x="574" y="66"/>
                </a:lnTo>
                <a:lnTo>
                  <a:pt x="545" y="67"/>
                </a:lnTo>
                <a:lnTo>
                  <a:pt x="516" y="69"/>
                </a:lnTo>
                <a:lnTo>
                  <a:pt x="487" y="72"/>
                </a:lnTo>
                <a:lnTo>
                  <a:pt x="458" y="77"/>
                </a:lnTo>
                <a:lnTo>
                  <a:pt x="430" y="84"/>
                </a:lnTo>
                <a:lnTo>
                  <a:pt x="403" y="92"/>
                </a:lnTo>
                <a:lnTo>
                  <a:pt x="377" y="100"/>
                </a:lnTo>
                <a:lnTo>
                  <a:pt x="351" y="111"/>
                </a:lnTo>
                <a:lnTo>
                  <a:pt x="325" y="122"/>
                </a:lnTo>
                <a:lnTo>
                  <a:pt x="300" y="135"/>
                </a:lnTo>
                <a:lnTo>
                  <a:pt x="276" y="149"/>
                </a:lnTo>
                <a:lnTo>
                  <a:pt x="254" y="164"/>
                </a:lnTo>
                <a:lnTo>
                  <a:pt x="231" y="180"/>
                </a:lnTo>
                <a:lnTo>
                  <a:pt x="209" y="196"/>
                </a:lnTo>
                <a:lnTo>
                  <a:pt x="187" y="215"/>
                </a:lnTo>
                <a:lnTo>
                  <a:pt x="168" y="233"/>
                </a:lnTo>
                <a:lnTo>
                  <a:pt x="149" y="254"/>
                </a:lnTo>
                <a:lnTo>
                  <a:pt x="131" y="274"/>
                </a:lnTo>
                <a:lnTo>
                  <a:pt x="114" y="296"/>
                </a:lnTo>
                <a:lnTo>
                  <a:pt x="97" y="319"/>
                </a:lnTo>
                <a:lnTo>
                  <a:pt x="83" y="341"/>
                </a:lnTo>
                <a:lnTo>
                  <a:pt x="69" y="366"/>
                </a:lnTo>
                <a:lnTo>
                  <a:pt x="56" y="391"/>
                </a:lnTo>
                <a:lnTo>
                  <a:pt x="44" y="416"/>
                </a:lnTo>
                <a:lnTo>
                  <a:pt x="35" y="442"/>
                </a:lnTo>
                <a:lnTo>
                  <a:pt x="26" y="469"/>
                </a:lnTo>
                <a:lnTo>
                  <a:pt x="17" y="496"/>
                </a:lnTo>
                <a:lnTo>
                  <a:pt x="12" y="524"/>
                </a:lnTo>
                <a:lnTo>
                  <a:pt x="6" y="552"/>
                </a:lnTo>
                <a:lnTo>
                  <a:pt x="3" y="580"/>
                </a:lnTo>
                <a:lnTo>
                  <a:pt x="0" y="609"/>
                </a:lnTo>
                <a:lnTo>
                  <a:pt x="0" y="639"/>
                </a:lnTo>
                <a:lnTo>
                  <a:pt x="0" y="753"/>
                </a:lnTo>
                <a:lnTo>
                  <a:pt x="0" y="753"/>
                </a:lnTo>
                <a:lnTo>
                  <a:pt x="0" y="771"/>
                </a:lnTo>
                <a:lnTo>
                  <a:pt x="1" y="787"/>
                </a:lnTo>
                <a:lnTo>
                  <a:pt x="3" y="802"/>
                </a:lnTo>
                <a:lnTo>
                  <a:pt x="5" y="816"/>
                </a:lnTo>
                <a:lnTo>
                  <a:pt x="7" y="829"/>
                </a:lnTo>
                <a:lnTo>
                  <a:pt x="11" y="841"/>
                </a:lnTo>
                <a:lnTo>
                  <a:pt x="15" y="852"/>
                </a:lnTo>
                <a:lnTo>
                  <a:pt x="19" y="861"/>
                </a:lnTo>
                <a:lnTo>
                  <a:pt x="25" y="870"/>
                </a:lnTo>
                <a:lnTo>
                  <a:pt x="30" y="878"/>
                </a:lnTo>
                <a:lnTo>
                  <a:pt x="37" y="885"/>
                </a:lnTo>
                <a:lnTo>
                  <a:pt x="43" y="891"/>
                </a:lnTo>
                <a:lnTo>
                  <a:pt x="50" y="896"/>
                </a:lnTo>
                <a:lnTo>
                  <a:pt x="57" y="899"/>
                </a:lnTo>
                <a:lnTo>
                  <a:pt x="65" y="902"/>
                </a:lnTo>
                <a:lnTo>
                  <a:pt x="73" y="905"/>
                </a:lnTo>
                <a:lnTo>
                  <a:pt x="81" y="907"/>
                </a:lnTo>
                <a:lnTo>
                  <a:pt x="90" y="907"/>
                </a:lnTo>
                <a:lnTo>
                  <a:pt x="100" y="907"/>
                </a:lnTo>
                <a:lnTo>
                  <a:pt x="108" y="906"/>
                </a:lnTo>
                <a:lnTo>
                  <a:pt x="118" y="904"/>
                </a:lnTo>
                <a:lnTo>
                  <a:pt x="128" y="901"/>
                </a:lnTo>
                <a:lnTo>
                  <a:pt x="148" y="894"/>
                </a:lnTo>
                <a:lnTo>
                  <a:pt x="170" y="884"/>
                </a:lnTo>
                <a:lnTo>
                  <a:pt x="191" y="871"/>
                </a:lnTo>
                <a:lnTo>
                  <a:pt x="213" y="855"/>
                </a:lnTo>
                <a:lnTo>
                  <a:pt x="235" y="838"/>
                </a:lnTo>
                <a:lnTo>
                  <a:pt x="235" y="838"/>
                </a:lnTo>
                <a:lnTo>
                  <a:pt x="284" y="794"/>
                </a:lnTo>
                <a:lnTo>
                  <a:pt x="334" y="752"/>
                </a:lnTo>
                <a:lnTo>
                  <a:pt x="359" y="732"/>
                </a:lnTo>
                <a:lnTo>
                  <a:pt x="384" y="711"/>
                </a:lnTo>
                <a:lnTo>
                  <a:pt x="410" y="693"/>
                </a:lnTo>
                <a:lnTo>
                  <a:pt x="436" y="674"/>
                </a:lnTo>
                <a:lnTo>
                  <a:pt x="463" y="658"/>
                </a:lnTo>
                <a:lnTo>
                  <a:pt x="491" y="643"/>
                </a:lnTo>
                <a:lnTo>
                  <a:pt x="519" y="629"/>
                </a:lnTo>
                <a:lnTo>
                  <a:pt x="548" y="618"/>
                </a:lnTo>
                <a:lnTo>
                  <a:pt x="579" y="608"/>
                </a:lnTo>
                <a:lnTo>
                  <a:pt x="595" y="605"/>
                </a:lnTo>
                <a:lnTo>
                  <a:pt x="611" y="602"/>
                </a:lnTo>
                <a:lnTo>
                  <a:pt x="628" y="600"/>
                </a:lnTo>
                <a:lnTo>
                  <a:pt x="644" y="598"/>
                </a:lnTo>
                <a:lnTo>
                  <a:pt x="661" y="596"/>
                </a:lnTo>
                <a:lnTo>
                  <a:pt x="678" y="596"/>
                </a:lnTo>
                <a:lnTo>
                  <a:pt x="678" y="596"/>
                </a:lnTo>
                <a:lnTo>
                  <a:pt x="695" y="596"/>
                </a:lnTo>
                <a:lnTo>
                  <a:pt x="712" y="598"/>
                </a:lnTo>
                <a:lnTo>
                  <a:pt x="728" y="600"/>
                </a:lnTo>
                <a:lnTo>
                  <a:pt x="745" y="602"/>
                </a:lnTo>
                <a:lnTo>
                  <a:pt x="761" y="605"/>
                </a:lnTo>
                <a:lnTo>
                  <a:pt x="776" y="608"/>
                </a:lnTo>
                <a:lnTo>
                  <a:pt x="808" y="618"/>
                </a:lnTo>
                <a:lnTo>
                  <a:pt x="837" y="629"/>
                </a:lnTo>
                <a:lnTo>
                  <a:pt x="865" y="643"/>
                </a:lnTo>
                <a:lnTo>
                  <a:pt x="893" y="658"/>
                </a:lnTo>
                <a:lnTo>
                  <a:pt x="919" y="674"/>
                </a:lnTo>
                <a:lnTo>
                  <a:pt x="946" y="693"/>
                </a:lnTo>
                <a:lnTo>
                  <a:pt x="972" y="711"/>
                </a:lnTo>
                <a:lnTo>
                  <a:pt x="997" y="732"/>
                </a:lnTo>
                <a:lnTo>
                  <a:pt x="1022" y="752"/>
                </a:lnTo>
                <a:lnTo>
                  <a:pt x="1071" y="794"/>
                </a:lnTo>
                <a:lnTo>
                  <a:pt x="1121" y="838"/>
                </a:lnTo>
                <a:lnTo>
                  <a:pt x="1121" y="838"/>
                </a:lnTo>
                <a:lnTo>
                  <a:pt x="1143" y="855"/>
                </a:lnTo>
                <a:lnTo>
                  <a:pt x="1164" y="871"/>
                </a:lnTo>
                <a:lnTo>
                  <a:pt x="1186" y="884"/>
                </a:lnTo>
                <a:lnTo>
                  <a:pt x="1208" y="894"/>
                </a:lnTo>
                <a:lnTo>
                  <a:pt x="1228" y="901"/>
                </a:lnTo>
                <a:lnTo>
                  <a:pt x="1238" y="904"/>
                </a:lnTo>
                <a:lnTo>
                  <a:pt x="1248" y="906"/>
                </a:lnTo>
                <a:lnTo>
                  <a:pt x="1256" y="907"/>
                </a:lnTo>
                <a:lnTo>
                  <a:pt x="1266" y="907"/>
                </a:lnTo>
                <a:lnTo>
                  <a:pt x="1275" y="907"/>
                </a:lnTo>
                <a:lnTo>
                  <a:pt x="1283" y="905"/>
                </a:lnTo>
                <a:lnTo>
                  <a:pt x="1291" y="902"/>
                </a:lnTo>
                <a:lnTo>
                  <a:pt x="1299" y="899"/>
                </a:lnTo>
                <a:lnTo>
                  <a:pt x="1306" y="896"/>
                </a:lnTo>
                <a:lnTo>
                  <a:pt x="1313" y="891"/>
                </a:lnTo>
                <a:lnTo>
                  <a:pt x="1319" y="885"/>
                </a:lnTo>
                <a:lnTo>
                  <a:pt x="1326" y="878"/>
                </a:lnTo>
                <a:lnTo>
                  <a:pt x="1331" y="870"/>
                </a:lnTo>
                <a:lnTo>
                  <a:pt x="1337" y="861"/>
                </a:lnTo>
                <a:lnTo>
                  <a:pt x="1341" y="852"/>
                </a:lnTo>
                <a:lnTo>
                  <a:pt x="1344" y="841"/>
                </a:lnTo>
                <a:lnTo>
                  <a:pt x="1349" y="829"/>
                </a:lnTo>
                <a:lnTo>
                  <a:pt x="1351" y="816"/>
                </a:lnTo>
                <a:lnTo>
                  <a:pt x="1353" y="802"/>
                </a:lnTo>
                <a:lnTo>
                  <a:pt x="1355" y="787"/>
                </a:lnTo>
                <a:lnTo>
                  <a:pt x="1356" y="771"/>
                </a:lnTo>
                <a:lnTo>
                  <a:pt x="1356" y="753"/>
                </a:lnTo>
                <a:lnTo>
                  <a:pt x="1356" y="639"/>
                </a:lnTo>
                <a:lnTo>
                  <a:pt x="1356" y="639"/>
                </a:lnTo>
                <a:lnTo>
                  <a:pt x="1355" y="609"/>
                </a:lnTo>
                <a:lnTo>
                  <a:pt x="1353" y="580"/>
                </a:lnTo>
                <a:lnTo>
                  <a:pt x="1350" y="552"/>
                </a:lnTo>
                <a:lnTo>
                  <a:pt x="1344" y="524"/>
                </a:lnTo>
                <a:lnTo>
                  <a:pt x="1338" y="496"/>
                </a:lnTo>
                <a:lnTo>
                  <a:pt x="1330" y="469"/>
                </a:lnTo>
                <a:lnTo>
                  <a:pt x="1322" y="442"/>
                </a:lnTo>
                <a:lnTo>
                  <a:pt x="1311" y="416"/>
                </a:lnTo>
                <a:lnTo>
                  <a:pt x="1300" y="391"/>
                </a:lnTo>
                <a:lnTo>
                  <a:pt x="1287" y="366"/>
                </a:lnTo>
                <a:lnTo>
                  <a:pt x="1273" y="341"/>
                </a:lnTo>
                <a:lnTo>
                  <a:pt x="1259" y="319"/>
                </a:lnTo>
                <a:lnTo>
                  <a:pt x="1242" y="296"/>
                </a:lnTo>
                <a:lnTo>
                  <a:pt x="1225" y="274"/>
                </a:lnTo>
                <a:lnTo>
                  <a:pt x="1207" y="254"/>
                </a:lnTo>
                <a:lnTo>
                  <a:pt x="1188" y="233"/>
                </a:lnTo>
                <a:lnTo>
                  <a:pt x="1168" y="215"/>
                </a:lnTo>
                <a:lnTo>
                  <a:pt x="1147" y="196"/>
                </a:lnTo>
                <a:lnTo>
                  <a:pt x="1125" y="180"/>
                </a:lnTo>
                <a:lnTo>
                  <a:pt x="1103" y="164"/>
                </a:lnTo>
                <a:lnTo>
                  <a:pt x="1080" y="149"/>
                </a:lnTo>
                <a:lnTo>
                  <a:pt x="1056" y="135"/>
                </a:lnTo>
                <a:lnTo>
                  <a:pt x="1031" y="122"/>
                </a:lnTo>
                <a:lnTo>
                  <a:pt x="1005" y="111"/>
                </a:lnTo>
                <a:lnTo>
                  <a:pt x="979" y="100"/>
                </a:lnTo>
                <a:lnTo>
                  <a:pt x="953" y="92"/>
                </a:lnTo>
                <a:lnTo>
                  <a:pt x="925" y="84"/>
                </a:lnTo>
                <a:lnTo>
                  <a:pt x="898" y="77"/>
                </a:lnTo>
                <a:lnTo>
                  <a:pt x="869" y="72"/>
                </a:lnTo>
                <a:lnTo>
                  <a:pt x="840" y="69"/>
                </a:lnTo>
                <a:lnTo>
                  <a:pt x="811" y="67"/>
                </a:lnTo>
                <a:lnTo>
                  <a:pt x="782" y="66"/>
                </a:lnTo>
                <a:lnTo>
                  <a:pt x="782" y="66"/>
                </a:lnTo>
                <a:close/>
                <a:moveTo>
                  <a:pt x="434" y="486"/>
                </a:moveTo>
                <a:lnTo>
                  <a:pt x="393" y="486"/>
                </a:lnTo>
                <a:lnTo>
                  <a:pt x="393" y="486"/>
                </a:lnTo>
                <a:lnTo>
                  <a:pt x="388" y="495"/>
                </a:lnTo>
                <a:lnTo>
                  <a:pt x="382" y="502"/>
                </a:lnTo>
                <a:lnTo>
                  <a:pt x="374" y="509"/>
                </a:lnTo>
                <a:lnTo>
                  <a:pt x="366" y="515"/>
                </a:lnTo>
                <a:lnTo>
                  <a:pt x="366" y="553"/>
                </a:lnTo>
                <a:lnTo>
                  <a:pt x="366" y="553"/>
                </a:lnTo>
                <a:lnTo>
                  <a:pt x="365" y="566"/>
                </a:lnTo>
                <a:lnTo>
                  <a:pt x="362" y="578"/>
                </a:lnTo>
                <a:lnTo>
                  <a:pt x="358" y="589"/>
                </a:lnTo>
                <a:lnTo>
                  <a:pt x="352" y="599"/>
                </a:lnTo>
                <a:lnTo>
                  <a:pt x="346" y="606"/>
                </a:lnTo>
                <a:lnTo>
                  <a:pt x="338" y="612"/>
                </a:lnTo>
                <a:lnTo>
                  <a:pt x="329" y="616"/>
                </a:lnTo>
                <a:lnTo>
                  <a:pt x="325" y="617"/>
                </a:lnTo>
                <a:lnTo>
                  <a:pt x="320" y="617"/>
                </a:lnTo>
                <a:lnTo>
                  <a:pt x="320" y="617"/>
                </a:lnTo>
                <a:lnTo>
                  <a:pt x="315" y="617"/>
                </a:lnTo>
                <a:lnTo>
                  <a:pt x="311" y="616"/>
                </a:lnTo>
                <a:lnTo>
                  <a:pt x="302" y="612"/>
                </a:lnTo>
                <a:lnTo>
                  <a:pt x="295" y="606"/>
                </a:lnTo>
                <a:lnTo>
                  <a:pt x="287" y="599"/>
                </a:lnTo>
                <a:lnTo>
                  <a:pt x="282" y="589"/>
                </a:lnTo>
                <a:lnTo>
                  <a:pt x="277" y="578"/>
                </a:lnTo>
                <a:lnTo>
                  <a:pt x="275" y="566"/>
                </a:lnTo>
                <a:lnTo>
                  <a:pt x="274" y="553"/>
                </a:lnTo>
                <a:lnTo>
                  <a:pt x="274" y="515"/>
                </a:lnTo>
                <a:lnTo>
                  <a:pt x="274" y="515"/>
                </a:lnTo>
                <a:lnTo>
                  <a:pt x="265" y="509"/>
                </a:lnTo>
                <a:lnTo>
                  <a:pt x="258" y="502"/>
                </a:lnTo>
                <a:lnTo>
                  <a:pt x="251" y="495"/>
                </a:lnTo>
                <a:lnTo>
                  <a:pt x="246" y="486"/>
                </a:lnTo>
                <a:lnTo>
                  <a:pt x="206" y="486"/>
                </a:lnTo>
                <a:lnTo>
                  <a:pt x="206" y="486"/>
                </a:lnTo>
                <a:lnTo>
                  <a:pt x="193" y="485"/>
                </a:lnTo>
                <a:lnTo>
                  <a:pt x="181" y="482"/>
                </a:lnTo>
                <a:lnTo>
                  <a:pt x="170" y="478"/>
                </a:lnTo>
                <a:lnTo>
                  <a:pt x="161" y="472"/>
                </a:lnTo>
                <a:lnTo>
                  <a:pt x="153" y="466"/>
                </a:lnTo>
                <a:lnTo>
                  <a:pt x="147" y="458"/>
                </a:lnTo>
                <a:lnTo>
                  <a:pt x="144" y="449"/>
                </a:lnTo>
                <a:lnTo>
                  <a:pt x="143" y="445"/>
                </a:lnTo>
                <a:lnTo>
                  <a:pt x="142" y="440"/>
                </a:lnTo>
                <a:lnTo>
                  <a:pt x="142" y="440"/>
                </a:lnTo>
                <a:lnTo>
                  <a:pt x="143" y="435"/>
                </a:lnTo>
                <a:lnTo>
                  <a:pt x="144" y="431"/>
                </a:lnTo>
                <a:lnTo>
                  <a:pt x="147" y="422"/>
                </a:lnTo>
                <a:lnTo>
                  <a:pt x="153" y="415"/>
                </a:lnTo>
                <a:lnTo>
                  <a:pt x="161" y="407"/>
                </a:lnTo>
                <a:lnTo>
                  <a:pt x="170" y="402"/>
                </a:lnTo>
                <a:lnTo>
                  <a:pt x="181" y="398"/>
                </a:lnTo>
                <a:lnTo>
                  <a:pt x="193" y="395"/>
                </a:lnTo>
                <a:lnTo>
                  <a:pt x="206" y="394"/>
                </a:lnTo>
                <a:lnTo>
                  <a:pt x="250" y="394"/>
                </a:lnTo>
                <a:lnTo>
                  <a:pt x="250" y="394"/>
                </a:lnTo>
                <a:lnTo>
                  <a:pt x="256" y="388"/>
                </a:lnTo>
                <a:lnTo>
                  <a:pt x="261" y="382"/>
                </a:lnTo>
                <a:lnTo>
                  <a:pt x="268" y="377"/>
                </a:lnTo>
                <a:lnTo>
                  <a:pt x="274" y="372"/>
                </a:lnTo>
                <a:lnTo>
                  <a:pt x="274" y="326"/>
                </a:lnTo>
                <a:lnTo>
                  <a:pt x="274" y="326"/>
                </a:lnTo>
                <a:lnTo>
                  <a:pt x="275" y="313"/>
                </a:lnTo>
                <a:lnTo>
                  <a:pt x="277" y="301"/>
                </a:lnTo>
                <a:lnTo>
                  <a:pt x="282" y="290"/>
                </a:lnTo>
                <a:lnTo>
                  <a:pt x="287" y="282"/>
                </a:lnTo>
                <a:lnTo>
                  <a:pt x="295" y="274"/>
                </a:lnTo>
                <a:lnTo>
                  <a:pt x="302" y="268"/>
                </a:lnTo>
                <a:lnTo>
                  <a:pt x="311" y="265"/>
                </a:lnTo>
                <a:lnTo>
                  <a:pt x="315" y="263"/>
                </a:lnTo>
                <a:lnTo>
                  <a:pt x="320" y="262"/>
                </a:lnTo>
                <a:lnTo>
                  <a:pt x="320" y="262"/>
                </a:lnTo>
                <a:lnTo>
                  <a:pt x="325" y="263"/>
                </a:lnTo>
                <a:lnTo>
                  <a:pt x="329" y="265"/>
                </a:lnTo>
                <a:lnTo>
                  <a:pt x="338" y="268"/>
                </a:lnTo>
                <a:lnTo>
                  <a:pt x="346" y="274"/>
                </a:lnTo>
                <a:lnTo>
                  <a:pt x="352" y="282"/>
                </a:lnTo>
                <a:lnTo>
                  <a:pt x="358" y="290"/>
                </a:lnTo>
                <a:lnTo>
                  <a:pt x="362" y="301"/>
                </a:lnTo>
                <a:lnTo>
                  <a:pt x="365" y="313"/>
                </a:lnTo>
                <a:lnTo>
                  <a:pt x="366" y="326"/>
                </a:lnTo>
                <a:lnTo>
                  <a:pt x="366" y="372"/>
                </a:lnTo>
                <a:lnTo>
                  <a:pt x="366" y="372"/>
                </a:lnTo>
                <a:lnTo>
                  <a:pt x="373" y="377"/>
                </a:lnTo>
                <a:lnTo>
                  <a:pt x="378" y="382"/>
                </a:lnTo>
                <a:lnTo>
                  <a:pt x="385" y="388"/>
                </a:lnTo>
                <a:lnTo>
                  <a:pt x="389" y="394"/>
                </a:lnTo>
                <a:lnTo>
                  <a:pt x="434" y="394"/>
                </a:lnTo>
                <a:lnTo>
                  <a:pt x="434" y="394"/>
                </a:lnTo>
                <a:lnTo>
                  <a:pt x="447" y="395"/>
                </a:lnTo>
                <a:lnTo>
                  <a:pt x="458" y="398"/>
                </a:lnTo>
                <a:lnTo>
                  <a:pt x="469" y="402"/>
                </a:lnTo>
                <a:lnTo>
                  <a:pt x="479" y="407"/>
                </a:lnTo>
                <a:lnTo>
                  <a:pt x="487" y="415"/>
                </a:lnTo>
                <a:lnTo>
                  <a:pt x="492" y="422"/>
                </a:lnTo>
                <a:lnTo>
                  <a:pt x="496" y="431"/>
                </a:lnTo>
                <a:lnTo>
                  <a:pt x="498" y="435"/>
                </a:lnTo>
                <a:lnTo>
                  <a:pt x="498" y="440"/>
                </a:lnTo>
                <a:lnTo>
                  <a:pt x="498" y="440"/>
                </a:lnTo>
                <a:lnTo>
                  <a:pt x="498" y="445"/>
                </a:lnTo>
                <a:lnTo>
                  <a:pt x="496" y="449"/>
                </a:lnTo>
                <a:lnTo>
                  <a:pt x="492" y="458"/>
                </a:lnTo>
                <a:lnTo>
                  <a:pt x="487" y="466"/>
                </a:lnTo>
                <a:lnTo>
                  <a:pt x="479" y="472"/>
                </a:lnTo>
                <a:lnTo>
                  <a:pt x="469" y="478"/>
                </a:lnTo>
                <a:lnTo>
                  <a:pt x="458" y="482"/>
                </a:lnTo>
                <a:lnTo>
                  <a:pt x="447" y="485"/>
                </a:lnTo>
                <a:lnTo>
                  <a:pt x="434" y="486"/>
                </a:lnTo>
                <a:lnTo>
                  <a:pt x="434" y="486"/>
                </a:lnTo>
                <a:close/>
                <a:moveTo>
                  <a:pt x="908" y="436"/>
                </a:moveTo>
                <a:lnTo>
                  <a:pt x="908" y="436"/>
                </a:lnTo>
                <a:lnTo>
                  <a:pt x="901" y="445"/>
                </a:lnTo>
                <a:lnTo>
                  <a:pt x="892" y="452"/>
                </a:lnTo>
                <a:lnTo>
                  <a:pt x="882" y="457"/>
                </a:lnTo>
                <a:lnTo>
                  <a:pt x="872" y="460"/>
                </a:lnTo>
                <a:lnTo>
                  <a:pt x="861" y="461"/>
                </a:lnTo>
                <a:lnTo>
                  <a:pt x="850" y="460"/>
                </a:lnTo>
                <a:lnTo>
                  <a:pt x="839" y="457"/>
                </a:lnTo>
                <a:lnTo>
                  <a:pt x="829" y="452"/>
                </a:lnTo>
                <a:lnTo>
                  <a:pt x="829" y="452"/>
                </a:lnTo>
                <a:lnTo>
                  <a:pt x="821" y="444"/>
                </a:lnTo>
                <a:lnTo>
                  <a:pt x="813" y="435"/>
                </a:lnTo>
                <a:lnTo>
                  <a:pt x="809" y="426"/>
                </a:lnTo>
                <a:lnTo>
                  <a:pt x="805" y="416"/>
                </a:lnTo>
                <a:lnTo>
                  <a:pt x="804" y="405"/>
                </a:lnTo>
                <a:lnTo>
                  <a:pt x="805" y="393"/>
                </a:lnTo>
                <a:lnTo>
                  <a:pt x="809" y="383"/>
                </a:lnTo>
                <a:lnTo>
                  <a:pt x="814" y="373"/>
                </a:lnTo>
                <a:lnTo>
                  <a:pt x="814" y="373"/>
                </a:lnTo>
                <a:lnTo>
                  <a:pt x="822" y="364"/>
                </a:lnTo>
                <a:lnTo>
                  <a:pt x="830" y="358"/>
                </a:lnTo>
                <a:lnTo>
                  <a:pt x="840" y="352"/>
                </a:lnTo>
                <a:lnTo>
                  <a:pt x="850" y="349"/>
                </a:lnTo>
                <a:lnTo>
                  <a:pt x="861" y="348"/>
                </a:lnTo>
                <a:lnTo>
                  <a:pt x="872" y="349"/>
                </a:lnTo>
                <a:lnTo>
                  <a:pt x="882" y="352"/>
                </a:lnTo>
                <a:lnTo>
                  <a:pt x="892" y="358"/>
                </a:lnTo>
                <a:lnTo>
                  <a:pt x="892" y="358"/>
                </a:lnTo>
                <a:lnTo>
                  <a:pt x="902" y="365"/>
                </a:lnTo>
                <a:lnTo>
                  <a:pt x="908" y="374"/>
                </a:lnTo>
                <a:lnTo>
                  <a:pt x="914" y="383"/>
                </a:lnTo>
                <a:lnTo>
                  <a:pt x="917" y="393"/>
                </a:lnTo>
                <a:lnTo>
                  <a:pt x="918" y="405"/>
                </a:lnTo>
                <a:lnTo>
                  <a:pt x="917" y="416"/>
                </a:lnTo>
                <a:lnTo>
                  <a:pt x="914" y="426"/>
                </a:lnTo>
                <a:lnTo>
                  <a:pt x="908" y="436"/>
                </a:lnTo>
                <a:lnTo>
                  <a:pt x="908" y="436"/>
                </a:lnTo>
                <a:close/>
                <a:moveTo>
                  <a:pt x="904" y="239"/>
                </a:moveTo>
                <a:lnTo>
                  <a:pt x="904" y="239"/>
                </a:lnTo>
                <a:lnTo>
                  <a:pt x="912" y="230"/>
                </a:lnTo>
                <a:lnTo>
                  <a:pt x="920" y="222"/>
                </a:lnTo>
                <a:lnTo>
                  <a:pt x="930" y="218"/>
                </a:lnTo>
                <a:lnTo>
                  <a:pt x="941" y="215"/>
                </a:lnTo>
                <a:lnTo>
                  <a:pt x="952" y="214"/>
                </a:lnTo>
                <a:lnTo>
                  <a:pt x="963" y="215"/>
                </a:lnTo>
                <a:lnTo>
                  <a:pt x="973" y="218"/>
                </a:lnTo>
                <a:lnTo>
                  <a:pt x="983" y="223"/>
                </a:lnTo>
                <a:lnTo>
                  <a:pt x="983" y="223"/>
                </a:lnTo>
                <a:lnTo>
                  <a:pt x="992" y="231"/>
                </a:lnTo>
                <a:lnTo>
                  <a:pt x="1000" y="240"/>
                </a:lnTo>
                <a:lnTo>
                  <a:pt x="1004" y="249"/>
                </a:lnTo>
                <a:lnTo>
                  <a:pt x="1007" y="259"/>
                </a:lnTo>
                <a:lnTo>
                  <a:pt x="1008" y="270"/>
                </a:lnTo>
                <a:lnTo>
                  <a:pt x="1007" y="281"/>
                </a:lnTo>
                <a:lnTo>
                  <a:pt x="1004" y="292"/>
                </a:lnTo>
                <a:lnTo>
                  <a:pt x="998" y="302"/>
                </a:lnTo>
                <a:lnTo>
                  <a:pt x="998" y="302"/>
                </a:lnTo>
                <a:lnTo>
                  <a:pt x="991" y="311"/>
                </a:lnTo>
                <a:lnTo>
                  <a:pt x="982" y="318"/>
                </a:lnTo>
                <a:lnTo>
                  <a:pt x="972" y="323"/>
                </a:lnTo>
                <a:lnTo>
                  <a:pt x="963" y="326"/>
                </a:lnTo>
                <a:lnTo>
                  <a:pt x="952" y="327"/>
                </a:lnTo>
                <a:lnTo>
                  <a:pt x="941" y="326"/>
                </a:lnTo>
                <a:lnTo>
                  <a:pt x="930" y="323"/>
                </a:lnTo>
                <a:lnTo>
                  <a:pt x="920" y="318"/>
                </a:lnTo>
                <a:lnTo>
                  <a:pt x="920" y="318"/>
                </a:lnTo>
                <a:lnTo>
                  <a:pt x="911" y="310"/>
                </a:lnTo>
                <a:lnTo>
                  <a:pt x="904" y="301"/>
                </a:lnTo>
                <a:lnTo>
                  <a:pt x="899" y="292"/>
                </a:lnTo>
                <a:lnTo>
                  <a:pt x="895" y="281"/>
                </a:lnTo>
                <a:lnTo>
                  <a:pt x="894" y="270"/>
                </a:lnTo>
                <a:lnTo>
                  <a:pt x="895" y="259"/>
                </a:lnTo>
                <a:lnTo>
                  <a:pt x="899" y="248"/>
                </a:lnTo>
                <a:lnTo>
                  <a:pt x="904" y="239"/>
                </a:lnTo>
                <a:lnTo>
                  <a:pt x="904" y="239"/>
                </a:lnTo>
                <a:close/>
                <a:moveTo>
                  <a:pt x="1033" y="521"/>
                </a:moveTo>
                <a:lnTo>
                  <a:pt x="1033" y="521"/>
                </a:lnTo>
                <a:lnTo>
                  <a:pt x="1027" y="529"/>
                </a:lnTo>
                <a:lnTo>
                  <a:pt x="1018" y="536"/>
                </a:lnTo>
                <a:lnTo>
                  <a:pt x="1008" y="541"/>
                </a:lnTo>
                <a:lnTo>
                  <a:pt x="997" y="545"/>
                </a:lnTo>
                <a:lnTo>
                  <a:pt x="987" y="546"/>
                </a:lnTo>
                <a:lnTo>
                  <a:pt x="976" y="545"/>
                </a:lnTo>
                <a:lnTo>
                  <a:pt x="965" y="541"/>
                </a:lnTo>
                <a:lnTo>
                  <a:pt x="955" y="536"/>
                </a:lnTo>
                <a:lnTo>
                  <a:pt x="955" y="536"/>
                </a:lnTo>
                <a:lnTo>
                  <a:pt x="946" y="528"/>
                </a:lnTo>
                <a:lnTo>
                  <a:pt x="939" y="520"/>
                </a:lnTo>
                <a:lnTo>
                  <a:pt x="933" y="510"/>
                </a:lnTo>
                <a:lnTo>
                  <a:pt x="931" y="500"/>
                </a:lnTo>
                <a:lnTo>
                  <a:pt x="930" y="489"/>
                </a:lnTo>
                <a:lnTo>
                  <a:pt x="931" y="479"/>
                </a:lnTo>
                <a:lnTo>
                  <a:pt x="934" y="468"/>
                </a:lnTo>
                <a:lnTo>
                  <a:pt x="940" y="457"/>
                </a:lnTo>
                <a:lnTo>
                  <a:pt x="940" y="457"/>
                </a:lnTo>
                <a:lnTo>
                  <a:pt x="946" y="448"/>
                </a:lnTo>
                <a:lnTo>
                  <a:pt x="955" y="442"/>
                </a:lnTo>
                <a:lnTo>
                  <a:pt x="965" y="436"/>
                </a:lnTo>
                <a:lnTo>
                  <a:pt x="976" y="433"/>
                </a:lnTo>
                <a:lnTo>
                  <a:pt x="987" y="432"/>
                </a:lnTo>
                <a:lnTo>
                  <a:pt x="997" y="433"/>
                </a:lnTo>
                <a:lnTo>
                  <a:pt x="1008" y="436"/>
                </a:lnTo>
                <a:lnTo>
                  <a:pt x="1018" y="442"/>
                </a:lnTo>
                <a:lnTo>
                  <a:pt x="1018" y="442"/>
                </a:lnTo>
                <a:lnTo>
                  <a:pt x="1027" y="449"/>
                </a:lnTo>
                <a:lnTo>
                  <a:pt x="1034" y="458"/>
                </a:lnTo>
                <a:lnTo>
                  <a:pt x="1040" y="468"/>
                </a:lnTo>
                <a:lnTo>
                  <a:pt x="1042" y="479"/>
                </a:lnTo>
                <a:lnTo>
                  <a:pt x="1043" y="489"/>
                </a:lnTo>
                <a:lnTo>
                  <a:pt x="1042" y="500"/>
                </a:lnTo>
                <a:lnTo>
                  <a:pt x="1039" y="510"/>
                </a:lnTo>
                <a:lnTo>
                  <a:pt x="1033" y="521"/>
                </a:lnTo>
                <a:lnTo>
                  <a:pt x="1033" y="521"/>
                </a:lnTo>
                <a:close/>
                <a:moveTo>
                  <a:pt x="1124" y="387"/>
                </a:moveTo>
                <a:lnTo>
                  <a:pt x="1124" y="387"/>
                </a:lnTo>
                <a:lnTo>
                  <a:pt x="1117" y="395"/>
                </a:lnTo>
                <a:lnTo>
                  <a:pt x="1108" y="402"/>
                </a:lnTo>
                <a:lnTo>
                  <a:pt x="1098" y="407"/>
                </a:lnTo>
                <a:lnTo>
                  <a:pt x="1088" y="410"/>
                </a:lnTo>
                <a:lnTo>
                  <a:pt x="1078" y="412"/>
                </a:lnTo>
                <a:lnTo>
                  <a:pt x="1067" y="410"/>
                </a:lnTo>
                <a:lnTo>
                  <a:pt x="1056" y="407"/>
                </a:lnTo>
                <a:lnTo>
                  <a:pt x="1045" y="402"/>
                </a:lnTo>
                <a:lnTo>
                  <a:pt x="1045" y="402"/>
                </a:lnTo>
                <a:lnTo>
                  <a:pt x="1036" y="394"/>
                </a:lnTo>
                <a:lnTo>
                  <a:pt x="1030" y="386"/>
                </a:lnTo>
                <a:lnTo>
                  <a:pt x="1024" y="376"/>
                </a:lnTo>
                <a:lnTo>
                  <a:pt x="1021" y="365"/>
                </a:lnTo>
                <a:lnTo>
                  <a:pt x="1020" y="354"/>
                </a:lnTo>
                <a:lnTo>
                  <a:pt x="1021" y="343"/>
                </a:lnTo>
                <a:lnTo>
                  <a:pt x="1024" y="334"/>
                </a:lnTo>
                <a:lnTo>
                  <a:pt x="1030" y="323"/>
                </a:lnTo>
                <a:lnTo>
                  <a:pt x="1030" y="323"/>
                </a:lnTo>
                <a:lnTo>
                  <a:pt x="1037" y="314"/>
                </a:lnTo>
                <a:lnTo>
                  <a:pt x="1046" y="308"/>
                </a:lnTo>
                <a:lnTo>
                  <a:pt x="1056" y="302"/>
                </a:lnTo>
                <a:lnTo>
                  <a:pt x="1067" y="299"/>
                </a:lnTo>
                <a:lnTo>
                  <a:pt x="1078" y="298"/>
                </a:lnTo>
                <a:lnTo>
                  <a:pt x="1088" y="299"/>
                </a:lnTo>
                <a:lnTo>
                  <a:pt x="1099" y="302"/>
                </a:lnTo>
                <a:lnTo>
                  <a:pt x="1109" y="308"/>
                </a:lnTo>
                <a:lnTo>
                  <a:pt x="1109" y="308"/>
                </a:lnTo>
                <a:lnTo>
                  <a:pt x="1118" y="315"/>
                </a:lnTo>
                <a:lnTo>
                  <a:pt x="1125" y="324"/>
                </a:lnTo>
                <a:lnTo>
                  <a:pt x="1130" y="334"/>
                </a:lnTo>
                <a:lnTo>
                  <a:pt x="1133" y="343"/>
                </a:lnTo>
                <a:lnTo>
                  <a:pt x="1134" y="354"/>
                </a:lnTo>
                <a:lnTo>
                  <a:pt x="1133" y="366"/>
                </a:lnTo>
                <a:lnTo>
                  <a:pt x="1130" y="376"/>
                </a:lnTo>
                <a:lnTo>
                  <a:pt x="1124" y="387"/>
                </a:lnTo>
                <a:lnTo>
                  <a:pt x="1124" y="387"/>
                </a:lnTo>
                <a:close/>
                <a:moveTo>
                  <a:pt x="1250" y="471"/>
                </a:moveTo>
                <a:lnTo>
                  <a:pt x="1250" y="471"/>
                </a:lnTo>
                <a:lnTo>
                  <a:pt x="1242" y="480"/>
                </a:lnTo>
                <a:lnTo>
                  <a:pt x="1234" y="486"/>
                </a:lnTo>
                <a:lnTo>
                  <a:pt x="1224" y="492"/>
                </a:lnTo>
                <a:lnTo>
                  <a:pt x="1214" y="495"/>
                </a:lnTo>
                <a:lnTo>
                  <a:pt x="1203" y="496"/>
                </a:lnTo>
                <a:lnTo>
                  <a:pt x="1191" y="495"/>
                </a:lnTo>
                <a:lnTo>
                  <a:pt x="1182" y="492"/>
                </a:lnTo>
                <a:lnTo>
                  <a:pt x="1171" y="486"/>
                </a:lnTo>
                <a:lnTo>
                  <a:pt x="1171" y="486"/>
                </a:lnTo>
                <a:lnTo>
                  <a:pt x="1162" y="479"/>
                </a:lnTo>
                <a:lnTo>
                  <a:pt x="1156" y="470"/>
                </a:lnTo>
                <a:lnTo>
                  <a:pt x="1150" y="460"/>
                </a:lnTo>
                <a:lnTo>
                  <a:pt x="1147" y="451"/>
                </a:lnTo>
                <a:lnTo>
                  <a:pt x="1146" y="440"/>
                </a:lnTo>
                <a:lnTo>
                  <a:pt x="1147" y="428"/>
                </a:lnTo>
                <a:lnTo>
                  <a:pt x="1150" y="418"/>
                </a:lnTo>
                <a:lnTo>
                  <a:pt x="1156" y="407"/>
                </a:lnTo>
                <a:lnTo>
                  <a:pt x="1156" y="407"/>
                </a:lnTo>
                <a:lnTo>
                  <a:pt x="1163" y="399"/>
                </a:lnTo>
                <a:lnTo>
                  <a:pt x="1172" y="392"/>
                </a:lnTo>
                <a:lnTo>
                  <a:pt x="1182" y="387"/>
                </a:lnTo>
                <a:lnTo>
                  <a:pt x="1191" y="383"/>
                </a:lnTo>
                <a:lnTo>
                  <a:pt x="1202" y="382"/>
                </a:lnTo>
                <a:lnTo>
                  <a:pt x="1214" y="383"/>
                </a:lnTo>
                <a:lnTo>
                  <a:pt x="1224" y="387"/>
                </a:lnTo>
                <a:lnTo>
                  <a:pt x="1235" y="392"/>
                </a:lnTo>
                <a:lnTo>
                  <a:pt x="1235" y="392"/>
                </a:lnTo>
                <a:lnTo>
                  <a:pt x="1243" y="400"/>
                </a:lnTo>
                <a:lnTo>
                  <a:pt x="1250" y="408"/>
                </a:lnTo>
                <a:lnTo>
                  <a:pt x="1255" y="418"/>
                </a:lnTo>
                <a:lnTo>
                  <a:pt x="1259" y="428"/>
                </a:lnTo>
                <a:lnTo>
                  <a:pt x="1260" y="439"/>
                </a:lnTo>
                <a:lnTo>
                  <a:pt x="1259" y="451"/>
                </a:lnTo>
                <a:lnTo>
                  <a:pt x="1255" y="460"/>
                </a:lnTo>
                <a:lnTo>
                  <a:pt x="1250" y="471"/>
                </a:lnTo>
                <a:lnTo>
                  <a:pt x="1250" y="47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4937377" y="963128"/>
            <a:ext cx="3851189" cy="77713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300"/>
              </a:spcAft>
            </a:pPr>
            <a:r>
              <a:rPr lang="en-US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=</a:t>
            </a:r>
            <a:r>
              <a:rPr lang="en-US" sz="1200" b="1" dirty="0" smtClean="0">
                <a:solidFill>
                  <a:srgbClr val="0070C0"/>
                </a:solidFill>
                <a:latin typeface="Georgia" panose="02040502050405020303" pitchFamily="18" charset="0"/>
              </a:rPr>
              <a:t>IF</a:t>
            </a:r>
            <a:r>
              <a:rPr lang="en-US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(</a:t>
            </a:r>
            <a:r>
              <a:rPr lang="en-US" sz="1200" dirty="0">
                <a:solidFill>
                  <a:schemeClr val="bg2"/>
                </a:solidFill>
                <a:latin typeface="Georgia" panose="02040502050405020303" pitchFamily="18" charset="0"/>
              </a:rPr>
              <a:t>Logical Test, </a:t>
            </a:r>
            <a:r>
              <a:rPr lang="en-US" sz="1200" dirty="0">
                <a:solidFill>
                  <a:schemeClr val="tx1"/>
                </a:solidFill>
                <a:latin typeface="Georgia" panose="02040502050405020303" pitchFamily="18" charset="0"/>
              </a:rPr>
              <a:t>Value if true, Value if false</a:t>
            </a:r>
            <a:r>
              <a:rPr lang="en-US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)</a:t>
            </a:r>
            <a:endParaRPr lang="en-US" sz="1200" dirty="0">
              <a:solidFill>
                <a:schemeClr val="bg1"/>
              </a:solidFill>
              <a:latin typeface="Georgia" panose="02040502050405020303" pitchFamily="18" charset="0"/>
            </a:endParaRPr>
          </a:p>
          <a:p>
            <a:pPr>
              <a:spcAft>
                <a:spcPts val="300"/>
              </a:spcAft>
            </a:pPr>
            <a:r>
              <a:rPr lang="en-US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=</a:t>
            </a:r>
            <a:r>
              <a:rPr lang="en-US" sz="1200" b="1" dirty="0" smtClean="0">
                <a:solidFill>
                  <a:srgbClr val="0070C0"/>
                </a:solidFill>
                <a:latin typeface="Georgia" panose="02040502050405020303" pitchFamily="18" charset="0"/>
              </a:rPr>
              <a:t>IF</a:t>
            </a:r>
            <a:r>
              <a:rPr lang="en-US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(</a:t>
            </a:r>
            <a:r>
              <a:rPr lang="en-US" sz="1200" dirty="0">
                <a:solidFill>
                  <a:schemeClr val="bg2"/>
                </a:solidFill>
                <a:latin typeface="Georgia" panose="02040502050405020303" pitchFamily="18" charset="0"/>
              </a:rPr>
              <a:t>Comparison between </a:t>
            </a:r>
            <a:r>
              <a:rPr lang="en-US" sz="1200" dirty="0" smtClean="0">
                <a:solidFill>
                  <a:schemeClr val="bg2"/>
                </a:solidFill>
                <a:latin typeface="Georgia" panose="02040502050405020303" pitchFamily="18" charset="0"/>
              </a:rPr>
              <a:t>variables,</a:t>
            </a:r>
            <a:r>
              <a:rPr lang="en-US" sz="1200" dirty="0" smtClean="0">
                <a:solidFill>
                  <a:schemeClr val="accent6"/>
                </a:solidFill>
                <a:latin typeface="Georgia" panose="02040502050405020303" pitchFamily="18" charset="0"/>
              </a:rPr>
              <a:t> </a:t>
            </a:r>
            <a:r>
              <a:rPr lang="en-US" sz="1200" dirty="0">
                <a:solidFill>
                  <a:schemeClr val="tx1"/>
                </a:solidFill>
                <a:latin typeface="Georgia" panose="02040502050405020303" pitchFamily="18" charset="0"/>
              </a:rPr>
              <a:t>Outcome if comparison holds, </a:t>
            </a:r>
            <a:r>
              <a:rPr lang="en-US" sz="1200" dirty="0" smtClean="0">
                <a:solidFill>
                  <a:schemeClr val="tx1"/>
                </a:solidFill>
                <a:latin typeface="Georgia" panose="02040502050405020303" pitchFamily="18" charset="0"/>
              </a:rPr>
              <a:t>Outcome </a:t>
            </a:r>
            <a:r>
              <a:rPr lang="en-US" sz="1200" dirty="0">
                <a:solidFill>
                  <a:schemeClr val="tx1"/>
                </a:solidFill>
                <a:latin typeface="Georgia" panose="02040502050405020303" pitchFamily="18" charset="0"/>
              </a:rPr>
              <a:t>if comparison does not </a:t>
            </a:r>
            <a:r>
              <a:rPr lang="en-US" sz="1200" dirty="0" smtClean="0">
                <a:solidFill>
                  <a:schemeClr val="tx1"/>
                </a:solidFill>
                <a:latin typeface="Georgia" panose="02040502050405020303" pitchFamily="18" charset="0"/>
              </a:rPr>
              <a:t>hold</a:t>
            </a:r>
            <a:r>
              <a:rPr lang="en-US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)</a:t>
            </a:r>
            <a:endParaRPr lang="en-US" sz="120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30" name="Freeform 211"/>
          <p:cNvSpPr>
            <a:spLocks noEditPoints="1"/>
          </p:cNvSpPr>
          <p:nvPr/>
        </p:nvSpPr>
        <p:spPr bwMode="auto">
          <a:xfrm>
            <a:off x="8563220" y="4359275"/>
            <a:ext cx="225345" cy="377168"/>
          </a:xfrm>
          <a:custGeom>
            <a:avLst/>
            <a:gdLst>
              <a:gd name="T0" fmla="*/ 223 w 512"/>
              <a:gd name="T1" fmla="*/ 95 h 766"/>
              <a:gd name="T2" fmla="*/ 159 w 512"/>
              <a:gd name="T3" fmla="*/ 95 h 766"/>
              <a:gd name="T4" fmla="*/ 159 w 512"/>
              <a:gd name="T5" fmla="*/ 160 h 766"/>
              <a:gd name="T6" fmla="*/ 223 w 512"/>
              <a:gd name="T7" fmla="*/ 160 h 766"/>
              <a:gd name="T8" fmla="*/ 223 w 512"/>
              <a:gd name="T9" fmla="*/ 95 h 766"/>
              <a:gd name="T10" fmla="*/ 352 w 512"/>
              <a:gd name="T11" fmla="*/ 95 h 766"/>
              <a:gd name="T12" fmla="*/ 287 w 512"/>
              <a:gd name="T13" fmla="*/ 95 h 766"/>
              <a:gd name="T14" fmla="*/ 287 w 512"/>
              <a:gd name="T15" fmla="*/ 160 h 766"/>
              <a:gd name="T16" fmla="*/ 352 w 512"/>
              <a:gd name="T17" fmla="*/ 160 h 766"/>
              <a:gd name="T18" fmla="*/ 352 w 512"/>
              <a:gd name="T19" fmla="*/ 95 h 766"/>
              <a:gd name="T20" fmla="*/ 448 w 512"/>
              <a:gd name="T21" fmla="*/ 223 h 766"/>
              <a:gd name="T22" fmla="*/ 448 w 512"/>
              <a:gd name="T23" fmla="*/ 0 h 766"/>
              <a:gd name="T24" fmla="*/ 63 w 512"/>
              <a:gd name="T25" fmla="*/ 0 h 766"/>
              <a:gd name="T26" fmla="*/ 63 w 512"/>
              <a:gd name="T27" fmla="*/ 223 h 766"/>
              <a:gd name="T28" fmla="*/ 63 w 512"/>
              <a:gd name="T29" fmla="*/ 223 h 766"/>
              <a:gd name="T30" fmla="*/ 50 w 512"/>
              <a:gd name="T31" fmla="*/ 224 h 766"/>
              <a:gd name="T32" fmla="*/ 39 w 512"/>
              <a:gd name="T33" fmla="*/ 228 h 766"/>
              <a:gd name="T34" fmla="*/ 27 w 512"/>
              <a:gd name="T35" fmla="*/ 234 h 766"/>
              <a:gd name="T36" fmla="*/ 19 w 512"/>
              <a:gd name="T37" fmla="*/ 241 h 766"/>
              <a:gd name="T38" fmla="*/ 10 w 512"/>
              <a:gd name="T39" fmla="*/ 251 h 766"/>
              <a:gd name="T40" fmla="*/ 4 w 512"/>
              <a:gd name="T41" fmla="*/ 262 h 766"/>
              <a:gd name="T42" fmla="*/ 1 w 512"/>
              <a:gd name="T43" fmla="*/ 274 h 766"/>
              <a:gd name="T44" fmla="*/ 0 w 512"/>
              <a:gd name="T45" fmla="*/ 287 h 766"/>
              <a:gd name="T46" fmla="*/ 0 w 512"/>
              <a:gd name="T47" fmla="*/ 703 h 766"/>
              <a:gd name="T48" fmla="*/ 0 w 512"/>
              <a:gd name="T49" fmla="*/ 703 h 766"/>
              <a:gd name="T50" fmla="*/ 1 w 512"/>
              <a:gd name="T51" fmla="*/ 716 h 766"/>
              <a:gd name="T52" fmla="*/ 4 w 512"/>
              <a:gd name="T53" fmla="*/ 728 h 766"/>
              <a:gd name="T54" fmla="*/ 10 w 512"/>
              <a:gd name="T55" fmla="*/ 739 h 766"/>
              <a:gd name="T56" fmla="*/ 19 w 512"/>
              <a:gd name="T57" fmla="*/ 748 h 766"/>
              <a:gd name="T58" fmla="*/ 27 w 512"/>
              <a:gd name="T59" fmla="*/ 756 h 766"/>
              <a:gd name="T60" fmla="*/ 39 w 512"/>
              <a:gd name="T61" fmla="*/ 762 h 766"/>
              <a:gd name="T62" fmla="*/ 50 w 512"/>
              <a:gd name="T63" fmla="*/ 765 h 766"/>
              <a:gd name="T64" fmla="*/ 63 w 512"/>
              <a:gd name="T65" fmla="*/ 766 h 766"/>
              <a:gd name="T66" fmla="*/ 448 w 512"/>
              <a:gd name="T67" fmla="*/ 766 h 766"/>
              <a:gd name="T68" fmla="*/ 448 w 512"/>
              <a:gd name="T69" fmla="*/ 766 h 766"/>
              <a:gd name="T70" fmla="*/ 460 w 512"/>
              <a:gd name="T71" fmla="*/ 765 h 766"/>
              <a:gd name="T72" fmla="*/ 472 w 512"/>
              <a:gd name="T73" fmla="*/ 762 h 766"/>
              <a:gd name="T74" fmla="*/ 483 w 512"/>
              <a:gd name="T75" fmla="*/ 756 h 766"/>
              <a:gd name="T76" fmla="*/ 492 w 512"/>
              <a:gd name="T77" fmla="*/ 748 h 766"/>
              <a:gd name="T78" fmla="*/ 501 w 512"/>
              <a:gd name="T79" fmla="*/ 739 h 766"/>
              <a:gd name="T80" fmla="*/ 507 w 512"/>
              <a:gd name="T81" fmla="*/ 728 h 766"/>
              <a:gd name="T82" fmla="*/ 510 w 512"/>
              <a:gd name="T83" fmla="*/ 716 h 766"/>
              <a:gd name="T84" fmla="*/ 512 w 512"/>
              <a:gd name="T85" fmla="*/ 703 h 766"/>
              <a:gd name="T86" fmla="*/ 512 w 512"/>
              <a:gd name="T87" fmla="*/ 287 h 766"/>
              <a:gd name="T88" fmla="*/ 512 w 512"/>
              <a:gd name="T89" fmla="*/ 287 h 766"/>
              <a:gd name="T90" fmla="*/ 510 w 512"/>
              <a:gd name="T91" fmla="*/ 274 h 766"/>
              <a:gd name="T92" fmla="*/ 507 w 512"/>
              <a:gd name="T93" fmla="*/ 262 h 766"/>
              <a:gd name="T94" fmla="*/ 501 w 512"/>
              <a:gd name="T95" fmla="*/ 251 h 766"/>
              <a:gd name="T96" fmla="*/ 492 w 512"/>
              <a:gd name="T97" fmla="*/ 241 h 766"/>
              <a:gd name="T98" fmla="*/ 483 w 512"/>
              <a:gd name="T99" fmla="*/ 234 h 766"/>
              <a:gd name="T100" fmla="*/ 472 w 512"/>
              <a:gd name="T101" fmla="*/ 228 h 766"/>
              <a:gd name="T102" fmla="*/ 460 w 512"/>
              <a:gd name="T103" fmla="*/ 224 h 766"/>
              <a:gd name="T104" fmla="*/ 448 w 512"/>
              <a:gd name="T105" fmla="*/ 223 h 766"/>
              <a:gd name="T106" fmla="*/ 448 w 512"/>
              <a:gd name="T107" fmla="*/ 223 h 766"/>
              <a:gd name="T108" fmla="*/ 400 w 512"/>
              <a:gd name="T109" fmla="*/ 223 h 766"/>
              <a:gd name="T110" fmla="*/ 111 w 512"/>
              <a:gd name="T111" fmla="*/ 223 h 766"/>
              <a:gd name="T112" fmla="*/ 111 w 512"/>
              <a:gd name="T113" fmla="*/ 47 h 766"/>
              <a:gd name="T114" fmla="*/ 400 w 512"/>
              <a:gd name="T115" fmla="*/ 47 h 766"/>
              <a:gd name="T116" fmla="*/ 400 w 512"/>
              <a:gd name="T117" fmla="*/ 223 h 7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12" h="766">
                <a:moveTo>
                  <a:pt x="223" y="95"/>
                </a:moveTo>
                <a:lnTo>
                  <a:pt x="159" y="95"/>
                </a:lnTo>
                <a:lnTo>
                  <a:pt x="159" y="160"/>
                </a:lnTo>
                <a:lnTo>
                  <a:pt x="223" y="160"/>
                </a:lnTo>
                <a:lnTo>
                  <a:pt x="223" y="95"/>
                </a:lnTo>
                <a:close/>
                <a:moveTo>
                  <a:pt x="352" y="95"/>
                </a:moveTo>
                <a:lnTo>
                  <a:pt x="287" y="95"/>
                </a:lnTo>
                <a:lnTo>
                  <a:pt x="287" y="160"/>
                </a:lnTo>
                <a:lnTo>
                  <a:pt x="352" y="160"/>
                </a:lnTo>
                <a:lnTo>
                  <a:pt x="352" y="95"/>
                </a:lnTo>
                <a:close/>
                <a:moveTo>
                  <a:pt x="448" y="223"/>
                </a:moveTo>
                <a:lnTo>
                  <a:pt x="448" y="0"/>
                </a:lnTo>
                <a:lnTo>
                  <a:pt x="63" y="0"/>
                </a:lnTo>
                <a:lnTo>
                  <a:pt x="63" y="223"/>
                </a:lnTo>
                <a:lnTo>
                  <a:pt x="63" y="223"/>
                </a:lnTo>
                <a:lnTo>
                  <a:pt x="50" y="224"/>
                </a:lnTo>
                <a:lnTo>
                  <a:pt x="39" y="228"/>
                </a:lnTo>
                <a:lnTo>
                  <a:pt x="27" y="234"/>
                </a:lnTo>
                <a:lnTo>
                  <a:pt x="19" y="241"/>
                </a:lnTo>
                <a:lnTo>
                  <a:pt x="10" y="251"/>
                </a:lnTo>
                <a:lnTo>
                  <a:pt x="4" y="262"/>
                </a:lnTo>
                <a:lnTo>
                  <a:pt x="1" y="274"/>
                </a:lnTo>
                <a:lnTo>
                  <a:pt x="0" y="287"/>
                </a:lnTo>
                <a:lnTo>
                  <a:pt x="0" y="703"/>
                </a:lnTo>
                <a:lnTo>
                  <a:pt x="0" y="703"/>
                </a:lnTo>
                <a:lnTo>
                  <a:pt x="1" y="716"/>
                </a:lnTo>
                <a:lnTo>
                  <a:pt x="4" y="728"/>
                </a:lnTo>
                <a:lnTo>
                  <a:pt x="10" y="739"/>
                </a:lnTo>
                <a:lnTo>
                  <a:pt x="19" y="748"/>
                </a:lnTo>
                <a:lnTo>
                  <a:pt x="27" y="756"/>
                </a:lnTo>
                <a:lnTo>
                  <a:pt x="39" y="762"/>
                </a:lnTo>
                <a:lnTo>
                  <a:pt x="50" y="765"/>
                </a:lnTo>
                <a:lnTo>
                  <a:pt x="63" y="766"/>
                </a:lnTo>
                <a:lnTo>
                  <a:pt x="448" y="766"/>
                </a:lnTo>
                <a:lnTo>
                  <a:pt x="448" y="766"/>
                </a:lnTo>
                <a:lnTo>
                  <a:pt x="460" y="765"/>
                </a:lnTo>
                <a:lnTo>
                  <a:pt x="472" y="762"/>
                </a:lnTo>
                <a:lnTo>
                  <a:pt x="483" y="756"/>
                </a:lnTo>
                <a:lnTo>
                  <a:pt x="492" y="748"/>
                </a:lnTo>
                <a:lnTo>
                  <a:pt x="501" y="739"/>
                </a:lnTo>
                <a:lnTo>
                  <a:pt x="507" y="728"/>
                </a:lnTo>
                <a:lnTo>
                  <a:pt x="510" y="716"/>
                </a:lnTo>
                <a:lnTo>
                  <a:pt x="512" y="703"/>
                </a:lnTo>
                <a:lnTo>
                  <a:pt x="512" y="287"/>
                </a:lnTo>
                <a:lnTo>
                  <a:pt x="512" y="287"/>
                </a:lnTo>
                <a:lnTo>
                  <a:pt x="510" y="274"/>
                </a:lnTo>
                <a:lnTo>
                  <a:pt x="507" y="262"/>
                </a:lnTo>
                <a:lnTo>
                  <a:pt x="501" y="251"/>
                </a:lnTo>
                <a:lnTo>
                  <a:pt x="492" y="241"/>
                </a:lnTo>
                <a:lnTo>
                  <a:pt x="483" y="234"/>
                </a:lnTo>
                <a:lnTo>
                  <a:pt x="472" y="228"/>
                </a:lnTo>
                <a:lnTo>
                  <a:pt x="460" y="224"/>
                </a:lnTo>
                <a:lnTo>
                  <a:pt x="448" y="223"/>
                </a:lnTo>
                <a:lnTo>
                  <a:pt x="448" y="223"/>
                </a:lnTo>
                <a:close/>
                <a:moveTo>
                  <a:pt x="400" y="223"/>
                </a:moveTo>
                <a:lnTo>
                  <a:pt x="111" y="223"/>
                </a:lnTo>
                <a:lnTo>
                  <a:pt x="111" y="47"/>
                </a:lnTo>
                <a:lnTo>
                  <a:pt x="400" y="47"/>
                </a:lnTo>
                <a:lnTo>
                  <a:pt x="400" y="22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grpSp>
        <p:nvGrpSpPr>
          <p:cNvPr id="65" name="Group 64"/>
          <p:cNvGrpSpPr/>
          <p:nvPr/>
        </p:nvGrpSpPr>
        <p:grpSpPr>
          <a:xfrm>
            <a:off x="4741786" y="4839950"/>
            <a:ext cx="3333261" cy="124245"/>
            <a:chOff x="4741786" y="4807866"/>
            <a:chExt cx="3333261" cy="124245"/>
          </a:xfrm>
        </p:grpSpPr>
        <p:grpSp>
          <p:nvGrpSpPr>
            <p:cNvPr id="66" name="Group 65"/>
            <p:cNvGrpSpPr/>
            <p:nvPr/>
          </p:nvGrpSpPr>
          <p:grpSpPr>
            <a:xfrm>
              <a:off x="4741786" y="4807866"/>
              <a:ext cx="749501" cy="124245"/>
              <a:chOff x="4744137" y="4807866"/>
              <a:chExt cx="749501" cy="124245"/>
            </a:xfrm>
          </p:grpSpPr>
          <p:sp>
            <p:nvSpPr>
              <p:cNvPr id="76" name="Content Placeholder 2"/>
              <p:cNvSpPr txBox="1">
                <a:spLocks/>
              </p:cNvSpPr>
              <p:nvPr/>
            </p:nvSpPr>
            <p:spPr>
              <a:xfrm>
                <a:off x="4744137" y="4807866"/>
                <a:ext cx="289063" cy="124245"/>
              </a:xfrm>
              <a:prstGeom prst="rect">
                <a:avLst/>
              </a:prstGeom>
              <a:solidFill>
                <a:srgbClr val="0070C0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TextBox 76"/>
              <p:cNvSpPr txBox="1"/>
              <p:nvPr/>
            </p:nvSpPr>
            <p:spPr>
              <a:xfrm>
                <a:off x="5083269" y="4808433"/>
                <a:ext cx="41036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Function</a:t>
                </a:r>
              </a:p>
            </p:txBody>
          </p:sp>
        </p:grpSp>
        <p:grpSp>
          <p:nvGrpSpPr>
            <p:cNvPr id="67" name="Group 66"/>
            <p:cNvGrpSpPr/>
            <p:nvPr/>
          </p:nvGrpSpPr>
          <p:grpSpPr>
            <a:xfrm>
              <a:off x="5657762" y="4807866"/>
              <a:ext cx="964303" cy="124245"/>
              <a:chOff x="5639959" y="4807866"/>
              <a:chExt cx="964303" cy="124245"/>
            </a:xfrm>
          </p:grpSpPr>
          <p:sp>
            <p:nvSpPr>
              <p:cNvPr id="74" name="Content Placeholder 2"/>
              <p:cNvSpPr txBox="1">
                <a:spLocks/>
              </p:cNvSpPr>
              <p:nvPr/>
            </p:nvSpPr>
            <p:spPr>
              <a:xfrm>
                <a:off x="5639959" y="4807866"/>
                <a:ext cx="289063" cy="124245"/>
              </a:xfrm>
              <a:prstGeom prst="rect">
                <a:avLst/>
              </a:prstGeom>
              <a:solidFill>
                <a:schemeClr val="accent1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b="1" i="1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TextBox 74"/>
              <p:cNvSpPr txBox="1"/>
              <p:nvPr/>
            </p:nvSpPr>
            <p:spPr>
              <a:xfrm>
                <a:off x="5979091" y="4808433"/>
                <a:ext cx="625171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Input Criteria</a:t>
                </a:r>
              </a:p>
            </p:txBody>
          </p:sp>
        </p:grpSp>
        <p:grpSp>
          <p:nvGrpSpPr>
            <p:cNvPr id="68" name="Group 67"/>
            <p:cNvGrpSpPr/>
            <p:nvPr/>
          </p:nvGrpSpPr>
          <p:grpSpPr>
            <a:xfrm>
              <a:off x="6790028" y="4807866"/>
              <a:ext cx="1285019" cy="124245"/>
              <a:chOff x="6731917" y="4807866"/>
              <a:chExt cx="1285019" cy="124245"/>
            </a:xfrm>
          </p:grpSpPr>
          <p:sp>
            <p:nvSpPr>
              <p:cNvPr id="71" name="Content Placeholder 2"/>
              <p:cNvSpPr txBox="1">
                <a:spLocks/>
              </p:cNvSpPr>
              <p:nvPr/>
            </p:nvSpPr>
            <p:spPr>
              <a:xfrm>
                <a:off x="6731917" y="4807866"/>
                <a:ext cx="289063" cy="124245"/>
              </a:xfrm>
              <a:prstGeom prst="rect">
                <a:avLst/>
              </a:prstGeom>
              <a:solidFill>
                <a:schemeClr val="tx1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B0F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b="1" i="1" dirty="0">
                  <a:solidFill>
                    <a:srgbClr val="00B0F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B0F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B0F0"/>
                  </a:solidFill>
                </a:endParaRPr>
              </a:p>
            </p:txBody>
          </p:sp>
          <p:sp>
            <p:nvSpPr>
              <p:cNvPr id="73" name="TextBox 72"/>
              <p:cNvSpPr txBox="1"/>
              <p:nvPr/>
            </p:nvSpPr>
            <p:spPr>
              <a:xfrm>
                <a:off x="7069561" y="4808433"/>
                <a:ext cx="947375" cy="123111"/>
              </a:xfrm>
              <a:prstGeom prst="rect">
                <a:avLst/>
              </a:prstGeom>
              <a:noFill/>
              <a:effectLst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 smtClean="0">
                    <a:latin typeface="Georgia" pitchFamily="18" charset="0"/>
                  </a:rPr>
                  <a:t>User Defined Output</a:t>
                </a:r>
                <a:endParaRPr lang="en-US" sz="800" dirty="0">
                  <a:latin typeface="Georgia" pitchFamily="18" charset="0"/>
                </a:endParaRP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2889595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 bwMode="ltGray">
          <a:xfrm>
            <a:off x="4741786" y="614362"/>
            <a:ext cx="4135514" cy="1957388"/>
          </a:xfrm>
          <a:prstGeom prst="rect">
            <a:avLst/>
          </a:prstGeom>
          <a:solidFill>
            <a:schemeClr val="tx2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72" name="Parallelogram 71"/>
          <p:cNvSpPr/>
          <p:nvPr/>
        </p:nvSpPr>
        <p:spPr bwMode="ltGray">
          <a:xfrm flipH="1">
            <a:off x="-5832" y="0"/>
            <a:ext cx="3712801" cy="5143500"/>
          </a:xfrm>
          <a:prstGeom prst="parallelogram">
            <a:avLst>
              <a:gd name="adj" fmla="val 77827"/>
            </a:avLst>
          </a:prstGeom>
          <a:solidFill>
            <a:srgbClr val="D5D1C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2" name="Rectangle 31"/>
          <p:cNvSpPr/>
          <p:nvPr/>
        </p:nvSpPr>
        <p:spPr bwMode="ltGray">
          <a:xfrm>
            <a:off x="251225" y="2866092"/>
            <a:ext cx="4255644" cy="1926763"/>
          </a:xfrm>
          <a:prstGeom prst="rect">
            <a:avLst/>
          </a:prstGeom>
          <a:solidFill>
            <a:srgbClr val="EB8C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69" name="Title 1"/>
          <p:cNvSpPr>
            <a:spLocks noGrp="1"/>
          </p:cNvSpPr>
          <p:nvPr>
            <p:ph type="title"/>
          </p:nvPr>
        </p:nvSpPr>
        <p:spPr>
          <a:xfrm>
            <a:off x="1178327" y="111849"/>
            <a:ext cx="7680410" cy="404406"/>
          </a:xfrm>
        </p:spPr>
        <p:txBody>
          <a:bodyPr/>
          <a:lstStyle/>
          <a:p>
            <a:r>
              <a:rPr lang="en-US" dirty="0"/>
              <a:t>Logical functions– IF &amp; AND function</a:t>
            </a:r>
            <a:endParaRPr lang="en-GB" b="0" i="0" dirty="0" smtClean="0"/>
          </a:p>
        </p:txBody>
      </p:sp>
      <p:sp>
        <p:nvSpPr>
          <p:cNvPr id="86" name="Rectangle 85"/>
          <p:cNvSpPr/>
          <p:nvPr/>
        </p:nvSpPr>
        <p:spPr bwMode="ltGray">
          <a:xfrm>
            <a:off x="251225" y="628104"/>
            <a:ext cx="4255644" cy="1943646"/>
          </a:xfrm>
          <a:prstGeom prst="rect">
            <a:avLst/>
          </a:prstGeom>
          <a:solidFill>
            <a:schemeClr val="accent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90" name="Rectangle 89"/>
          <p:cNvSpPr/>
          <p:nvPr/>
        </p:nvSpPr>
        <p:spPr bwMode="ltGray">
          <a:xfrm>
            <a:off x="4741786" y="2855610"/>
            <a:ext cx="4145039" cy="1925940"/>
          </a:xfrm>
          <a:prstGeom prst="rect">
            <a:avLst/>
          </a:prstGeom>
          <a:solidFill>
            <a:schemeClr val="accent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415925" y="963128"/>
            <a:ext cx="4022915" cy="147732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IF + AND Statements facilitate the use of multiple logical tests in evaluating a data set, where all tests must be true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Each statement within the AND function must be structured as a unique test; you can’t simply list the values being compared 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Similar to the IF Statement, the AND statement can be embedded within multiple functions to run more </a:t>
            </a: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>advanced tests</a:t>
            </a:r>
            <a:endParaRPr lang="en-US" sz="1200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4956906" y="3302803"/>
            <a:ext cx="3840480" cy="96180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If any part of the AND function results in an error message, the entire formula will display an error message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The AND function requires each unique test to be true to return the IF statement as true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415925" y="3302803"/>
            <a:ext cx="4023360" cy="5924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Running highly specific tests to zero in on unique data in a large </a:t>
            </a: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>data set</a:t>
            </a:r>
            <a:endParaRPr lang="en-US" sz="1200" dirty="0">
              <a:solidFill>
                <a:schemeClr val="bg1"/>
              </a:solidFill>
              <a:latin typeface="Georgia" pitchFamily="18" charset="0"/>
            </a:endParaRP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Comparing data across multiple criteria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401585" y="658652"/>
            <a:ext cx="940895" cy="2383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900"/>
              </a:spcAft>
            </a:pPr>
            <a:r>
              <a:rPr lang="en-GB" b="1" i="1" dirty="0" smtClean="0">
                <a:solidFill>
                  <a:schemeClr val="bg1"/>
                </a:solidFill>
                <a:latin typeface="Georgia" pitchFamily="18" charset="0"/>
              </a:rPr>
              <a:t>Overview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4937376" y="648119"/>
            <a:ext cx="940895" cy="2383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Syntax</a:t>
            </a:r>
            <a:endParaRPr lang="en-GB" b="1" i="1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907130" y="2937365"/>
            <a:ext cx="2550742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Tips </a:t>
            </a:r>
            <a:r>
              <a:rPr lang="en-GB" b="1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nd Tricks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415925" y="2988994"/>
            <a:ext cx="2651530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Uses </a:t>
            </a:r>
            <a:r>
              <a:rPr lang="en-GB" b="1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nd Applications</a:t>
            </a:r>
          </a:p>
        </p:txBody>
      </p:sp>
      <p:sp>
        <p:nvSpPr>
          <p:cNvPr id="23" name="Freeform 201"/>
          <p:cNvSpPr>
            <a:spLocks noEditPoints="1"/>
          </p:cNvSpPr>
          <p:nvPr/>
        </p:nvSpPr>
        <p:spPr bwMode="auto">
          <a:xfrm>
            <a:off x="4040650" y="2222127"/>
            <a:ext cx="398190" cy="283985"/>
          </a:xfrm>
          <a:custGeom>
            <a:avLst/>
            <a:gdLst>
              <a:gd name="T0" fmla="*/ 67 w 812"/>
              <a:gd name="T1" fmla="*/ 0 h 576"/>
              <a:gd name="T2" fmla="*/ 30 w 812"/>
              <a:gd name="T3" fmla="*/ 12 h 576"/>
              <a:gd name="T4" fmla="*/ 5 w 812"/>
              <a:gd name="T5" fmla="*/ 43 h 576"/>
              <a:gd name="T6" fmla="*/ 0 w 812"/>
              <a:gd name="T7" fmla="*/ 390 h 576"/>
              <a:gd name="T8" fmla="*/ 5 w 812"/>
              <a:gd name="T9" fmla="*/ 416 h 576"/>
              <a:gd name="T10" fmla="*/ 30 w 812"/>
              <a:gd name="T11" fmla="*/ 446 h 576"/>
              <a:gd name="T12" fmla="*/ 67 w 812"/>
              <a:gd name="T13" fmla="*/ 457 h 576"/>
              <a:gd name="T14" fmla="*/ 101 w 812"/>
              <a:gd name="T15" fmla="*/ 509 h 576"/>
              <a:gd name="T16" fmla="*/ 473 w 812"/>
              <a:gd name="T17" fmla="*/ 509 h 576"/>
              <a:gd name="T18" fmla="*/ 507 w 812"/>
              <a:gd name="T19" fmla="*/ 457 h 576"/>
              <a:gd name="T20" fmla="*/ 534 w 812"/>
              <a:gd name="T21" fmla="*/ 452 h 576"/>
              <a:gd name="T22" fmla="*/ 564 w 812"/>
              <a:gd name="T23" fmla="*/ 428 h 576"/>
              <a:gd name="T24" fmla="*/ 575 w 812"/>
              <a:gd name="T25" fmla="*/ 390 h 576"/>
              <a:gd name="T26" fmla="*/ 574 w 812"/>
              <a:gd name="T27" fmla="*/ 55 h 576"/>
              <a:gd name="T28" fmla="*/ 555 w 812"/>
              <a:gd name="T29" fmla="*/ 21 h 576"/>
              <a:gd name="T30" fmla="*/ 522 w 812"/>
              <a:gd name="T31" fmla="*/ 2 h 576"/>
              <a:gd name="T32" fmla="*/ 507 w 812"/>
              <a:gd name="T33" fmla="*/ 373 h 576"/>
              <a:gd name="T34" fmla="*/ 502 w 812"/>
              <a:gd name="T35" fmla="*/ 385 h 576"/>
              <a:gd name="T36" fmla="*/ 84 w 812"/>
              <a:gd name="T37" fmla="*/ 390 h 576"/>
              <a:gd name="T38" fmla="*/ 72 w 812"/>
              <a:gd name="T39" fmla="*/ 385 h 576"/>
              <a:gd name="T40" fmla="*/ 67 w 812"/>
              <a:gd name="T41" fmla="*/ 85 h 576"/>
              <a:gd name="T42" fmla="*/ 72 w 812"/>
              <a:gd name="T43" fmla="*/ 74 h 576"/>
              <a:gd name="T44" fmla="*/ 490 w 812"/>
              <a:gd name="T45" fmla="*/ 68 h 576"/>
              <a:gd name="T46" fmla="*/ 502 w 812"/>
              <a:gd name="T47" fmla="*/ 74 h 576"/>
              <a:gd name="T48" fmla="*/ 507 w 812"/>
              <a:gd name="T49" fmla="*/ 373 h 576"/>
              <a:gd name="T50" fmla="*/ 643 w 812"/>
              <a:gd name="T51" fmla="*/ 0 h 576"/>
              <a:gd name="T52" fmla="*/ 624 w 812"/>
              <a:gd name="T53" fmla="*/ 6 h 576"/>
              <a:gd name="T54" fmla="*/ 612 w 812"/>
              <a:gd name="T55" fmla="*/ 21 h 576"/>
              <a:gd name="T56" fmla="*/ 610 w 812"/>
              <a:gd name="T57" fmla="*/ 543 h 576"/>
              <a:gd name="T58" fmla="*/ 612 w 812"/>
              <a:gd name="T59" fmla="*/ 556 h 576"/>
              <a:gd name="T60" fmla="*/ 624 w 812"/>
              <a:gd name="T61" fmla="*/ 570 h 576"/>
              <a:gd name="T62" fmla="*/ 643 w 812"/>
              <a:gd name="T63" fmla="*/ 576 h 576"/>
              <a:gd name="T64" fmla="*/ 786 w 812"/>
              <a:gd name="T65" fmla="*/ 575 h 576"/>
              <a:gd name="T66" fmla="*/ 802 w 812"/>
              <a:gd name="T67" fmla="*/ 566 h 576"/>
              <a:gd name="T68" fmla="*/ 811 w 812"/>
              <a:gd name="T69" fmla="*/ 549 h 576"/>
              <a:gd name="T70" fmla="*/ 812 w 812"/>
              <a:gd name="T71" fmla="*/ 34 h 576"/>
              <a:gd name="T72" fmla="*/ 806 w 812"/>
              <a:gd name="T73" fmla="*/ 16 h 576"/>
              <a:gd name="T74" fmla="*/ 792 w 812"/>
              <a:gd name="T75" fmla="*/ 3 h 576"/>
              <a:gd name="T76" fmla="*/ 778 w 812"/>
              <a:gd name="T77" fmla="*/ 0 h 576"/>
              <a:gd name="T78" fmla="*/ 702 w 812"/>
              <a:gd name="T79" fmla="*/ 444 h 576"/>
              <a:gd name="T80" fmla="*/ 683 w 812"/>
              <a:gd name="T81" fmla="*/ 434 h 576"/>
              <a:gd name="T82" fmla="*/ 674 w 812"/>
              <a:gd name="T83" fmla="*/ 415 h 576"/>
              <a:gd name="T84" fmla="*/ 674 w 812"/>
              <a:gd name="T85" fmla="*/ 399 h 576"/>
              <a:gd name="T86" fmla="*/ 683 w 812"/>
              <a:gd name="T87" fmla="*/ 380 h 576"/>
              <a:gd name="T88" fmla="*/ 702 w 812"/>
              <a:gd name="T89" fmla="*/ 369 h 576"/>
              <a:gd name="T90" fmla="*/ 718 w 812"/>
              <a:gd name="T91" fmla="*/ 369 h 576"/>
              <a:gd name="T92" fmla="*/ 737 w 812"/>
              <a:gd name="T93" fmla="*/ 380 h 576"/>
              <a:gd name="T94" fmla="*/ 748 w 812"/>
              <a:gd name="T95" fmla="*/ 399 h 576"/>
              <a:gd name="T96" fmla="*/ 748 w 812"/>
              <a:gd name="T97" fmla="*/ 415 h 576"/>
              <a:gd name="T98" fmla="*/ 737 w 812"/>
              <a:gd name="T99" fmla="*/ 434 h 576"/>
              <a:gd name="T100" fmla="*/ 718 w 812"/>
              <a:gd name="T101" fmla="*/ 444 h 576"/>
              <a:gd name="T102" fmla="*/ 765 w 812"/>
              <a:gd name="T103" fmla="*/ 103 h 576"/>
              <a:gd name="T104" fmla="*/ 653 w 812"/>
              <a:gd name="T105" fmla="*/ 103 h 576"/>
              <a:gd name="T106" fmla="*/ 640 w 812"/>
              <a:gd name="T107" fmla="*/ 92 h 576"/>
              <a:gd name="T108" fmla="*/ 639 w 812"/>
              <a:gd name="T109" fmla="*/ 85 h 576"/>
              <a:gd name="T110" fmla="*/ 643 w 812"/>
              <a:gd name="T111" fmla="*/ 73 h 576"/>
              <a:gd name="T112" fmla="*/ 657 w 812"/>
              <a:gd name="T113" fmla="*/ 68 h 576"/>
              <a:gd name="T114" fmla="*/ 769 w 812"/>
              <a:gd name="T115" fmla="*/ 68 h 576"/>
              <a:gd name="T116" fmla="*/ 781 w 812"/>
              <a:gd name="T117" fmla="*/ 79 h 576"/>
              <a:gd name="T118" fmla="*/ 782 w 812"/>
              <a:gd name="T119" fmla="*/ 85 h 576"/>
              <a:gd name="T120" fmla="*/ 777 w 812"/>
              <a:gd name="T121" fmla="*/ 98 h 576"/>
              <a:gd name="T122" fmla="*/ 765 w 812"/>
              <a:gd name="T123" fmla="*/ 103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12" h="576">
                <a:moveTo>
                  <a:pt x="507" y="0"/>
                </a:moveTo>
                <a:lnTo>
                  <a:pt x="67" y="0"/>
                </a:lnTo>
                <a:lnTo>
                  <a:pt x="67" y="0"/>
                </a:lnTo>
                <a:lnTo>
                  <a:pt x="54" y="2"/>
                </a:lnTo>
                <a:lnTo>
                  <a:pt x="41" y="6"/>
                </a:lnTo>
                <a:lnTo>
                  <a:pt x="30" y="12"/>
                </a:lnTo>
                <a:lnTo>
                  <a:pt x="19" y="21"/>
                </a:lnTo>
                <a:lnTo>
                  <a:pt x="12" y="31"/>
                </a:lnTo>
                <a:lnTo>
                  <a:pt x="5" y="43"/>
                </a:lnTo>
                <a:lnTo>
                  <a:pt x="1" y="55"/>
                </a:lnTo>
                <a:lnTo>
                  <a:pt x="0" y="68"/>
                </a:lnTo>
                <a:lnTo>
                  <a:pt x="0" y="390"/>
                </a:lnTo>
                <a:lnTo>
                  <a:pt x="0" y="390"/>
                </a:lnTo>
                <a:lnTo>
                  <a:pt x="1" y="404"/>
                </a:lnTo>
                <a:lnTo>
                  <a:pt x="5" y="416"/>
                </a:lnTo>
                <a:lnTo>
                  <a:pt x="12" y="428"/>
                </a:lnTo>
                <a:lnTo>
                  <a:pt x="19" y="438"/>
                </a:lnTo>
                <a:lnTo>
                  <a:pt x="30" y="446"/>
                </a:lnTo>
                <a:lnTo>
                  <a:pt x="41" y="452"/>
                </a:lnTo>
                <a:lnTo>
                  <a:pt x="54" y="456"/>
                </a:lnTo>
                <a:lnTo>
                  <a:pt x="67" y="457"/>
                </a:lnTo>
                <a:lnTo>
                  <a:pt x="237" y="457"/>
                </a:lnTo>
                <a:lnTo>
                  <a:pt x="237" y="509"/>
                </a:lnTo>
                <a:lnTo>
                  <a:pt x="101" y="509"/>
                </a:lnTo>
                <a:lnTo>
                  <a:pt x="101" y="576"/>
                </a:lnTo>
                <a:lnTo>
                  <a:pt x="473" y="576"/>
                </a:lnTo>
                <a:lnTo>
                  <a:pt x="473" y="509"/>
                </a:lnTo>
                <a:lnTo>
                  <a:pt x="339" y="509"/>
                </a:lnTo>
                <a:lnTo>
                  <a:pt x="339" y="457"/>
                </a:lnTo>
                <a:lnTo>
                  <a:pt x="507" y="457"/>
                </a:lnTo>
                <a:lnTo>
                  <a:pt x="507" y="457"/>
                </a:lnTo>
                <a:lnTo>
                  <a:pt x="522" y="456"/>
                </a:lnTo>
                <a:lnTo>
                  <a:pt x="534" y="452"/>
                </a:lnTo>
                <a:lnTo>
                  <a:pt x="546" y="446"/>
                </a:lnTo>
                <a:lnTo>
                  <a:pt x="555" y="438"/>
                </a:lnTo>
                <a:lnTo>
                  <a:pt x="564" y="428"/>
                </a:lnTo>
                <a:lnTo>
                  <a:pt x="570" y="416"/>
                </a:lnTo>
                <a:lnTo>
                  <a:pt x="574" y="404"/>
                </a:lnTo>
                <a:lnTo>
                  <a:pt x="575" y="390"/>
                </a:lnTo>
                <a:lnTo>
                  <a:pt x="575" y="68"/>
                </a:lnTo>
                <a:lnTo>
                  <a:pt x="575" y="68"/>
                </a:lnTo>
                <a:lnTo>
                  <a:pt x="574" y="55"/>
                </a:lnTo>
                <a:lnTo>
                  <a:pt x="570" y="43"/>
                </a:lnTo>
                <a:lnTo>
                  <a:pt x="564" y="31"/>
                </a:lnTo>
                <a:lnTo>
                  <a:pt x="555" y="21"/>
                </a:lnTo>
                <a:lnTo>
                  <a:pt x="546" y="12"/>
                </a:lnTo>
                <a:lnTo>
                  <a:pt x="534" y="6"/>
                </a:lnTo>
                <a:lnTo>
                  <a:pt x="522" y="2"/>
                </a:lnTo>
                <a:lnTo>
                  <a:pt x="507" y="0"/>
                </a:lnTo>
                <a:lnTo>
                  <a:pt x="507" y="0"/>
                </a:lnTo>
                <a:close/>
                <a:moveTo>
                  <a:pt x="507" y="373"/>
                </a:moveTo>
                <a:lnTo>
                  <a:pt x="507" y="373"/>
                </a:lnTo>
                <a:lnTo>
                  <a:pt x="506" y="380"/>
                </a:lnTo>
                <a:lnTo>
                  <a:pt x="502" y="385"/>
                </a:lnTo>
                <a:lnTo>
                  <a:pt x="498" y="388"/>
                </a:lnTo>
                <a:lnTo>
                  <a:pt x="490" y="390"/>
                </a:lnTo>
                <a:lnTo>
                  <a:pt x="84" y="390"/>
                </a:lnTo>
                <a:lnTo>
                  <a:pt x="84" y="390"/>
                </a:lnTo>
                <a:lnTo>
                  <a:pt x="78" y="388"/>
                </a:lnTo>
                <a:lnTo>
                  <a:pt x="72" y="385"/>
                </a:lnTo>
                <a:lnTo>
                  <a:pt x="69" y="380"/>
                </a:lnTo>
                <a:lnTo>
                  <a:pt x="67" y="373"/>
                </a:lnTo>
                <a:lnTo>
                  <a:pt x="67" y="85"/>
                </a:lnTo>
                <a:lnTo>
                  <a:pt x="67" y="85"/>
                </a:lnTo>
                <a:lnTo>
                  <a:pt x="69" y="79"/>
                </a:lnTo>
                <a:lnTo>
                  <a:pt x="72" y="74"/>
                </a:lnTo>
                <a:lnTo>
                  <a:pt x="78" y="70"/>
                </a:lnTo>
                <a:lnTo>
                  <a:pt x="84" y="68"/>
                </a:lnTo>
                <a:lnTo>
                  <a:pt x="490" y="68"/>
                </a:lnTo>
                <a:lnTo>
                  <a:pt x="490" y="68"/>
                </a:lnTo>
                <a:lnTo>
                  <a:pt x="498" y="70"/>
                </a:lnTo>
                <a:lnTo>
                  <a:pt x="502" y="74"/>
                </a:lnTo>
                <a:lnTo>
                  <a:pt x="506" y="79"/>
                </a:lnTo>
                <a:lnTo>
                  <a:pt x="507" y="85"/>
                </a:lnTo>
                <a:lnTo>
                  <a:pt x="507" y="373"/>
                </a:lnTo>
                <a:close/>
                <a:moveTo>
                  <a:pt x="778" y="0"/>
                </a:moveTo>
                <a:lnTo>
                  <a:pt x="643" y="0"/>
                </a:lnTo>
                <a:lnTo>
                  <a:pt x="643" y="0"/>
                </a:lnTo>
                <a:lnTo>
                  <a:pt x="636" y="2"/>
                </a:lnTo>
                <a:lnTo>
                  <a:pt x="630" y="3"/>
                </a:lnTo>
                <a:lnTo>
                  <a:pt x="624" y="6"/>
                </a:lnTo>
                <a:lnTo>
                  <a:pt x="619" y="11"/>
                </a:lnTo>
                <a:lnTo>
                  <a:pt x="614" y="16"/>
                </a:lnTo>
                <a:lnTo>
                  <a:pt x="612" y="21"/>
                </a:lnTo>
                <a:lnTo>
                  <a:pt x="610" y="28"/>
                </a:lnTo>
                <a:lnTo>
                  <a:pt x="610" y="34"/>
                </a:lnTo>
                <a:lnTo>
                  <a:pt x="610" y="543"/>
                </a:lnTo>
                <a:lnTo>
                  <a:pt x="610" y="543"/>
                </a:lnTo>
                <a:lnTo>
                  <a:pt x="610" y="549"/>
                </a:lnTo>
                <a:lnTo>
                  <a:pt x="612" y="556"/>
                </a:lnTo>
                <a:lnTo>
                  <a:pt x="614" y="561"/>
                </a:lnTo>
                <a:lnTo>
                  <a:pt x="619" y="566"/>
                </a:lnTo>
                <a:lnTo>
                  <a:pt x="624" y="570"/>
                </a:lnTo>
                <a:lnTo>
                  <a:pt x="630" y="574"/>
                </a:lnTo>
                <a:lnTo>
                  <a:pt x="636" y="575"/>
                </a:lnTo>
                <a:lnTo>
                  <a:pt x="643" y="576"/>
                </a:lnTo>
                <a:lnTo>
                  <a:pt x="778" y="576"/>
                </a:lnTo>
                <a:lnTo>
                  <a:pt x="778" y="576"/>
                </a:lnTo>
                <a:lnTo>
                  <a:pt x="786" y="575"/>
                </a:lnTo>
                <a:lnTo>
                  <a:pt x="792" y="574"/>
                </a:lnTo>
                <a:lnTo>
                  <a:pt x="798" y="570"/>
                </a:lnTo>
                <a:lnTo>
                  <a:pt x="802" y="566"/>
                </a:lnTo>
                <a:lnTo>
                  <a:pt x="806" y="561"/>
                </a:lnTo>
                <a:lnTo>
                  <a:pt x="810" y="556"/>
                </a:lnTo>
                <a:lnTo>
                  <a:pt x="811" y="549"/>
                </a:lnTo>
                <a:lnTo>
                  <a:pt x="812" y="543"/>
                </a:lnTo>
                <a:lnTo>
                  <a:pt x="812" y="34"/>
                </a:lnTo>
                <a:lnTo>
                  <a:pt x="812" y="34"/>
                </a:lnTo>
                <a:lnTo>
                  <a:pt x="811" y="28"/>
                </a:lnTo>
                <a:lnTo>
                  <a:pt x="810" y="21"/>
                </a:lnTo>
                <a:lnTo>
                  <a:pt x="806" y="16"/>
                </a:lnTo>
                <a:lnTo>
                  <a:pt x="802" y="11"/>
                </a:lnTo>
                <a:lnTo>
                  <a:pt x="798" y="6"/>
                </a:lnTo>
                <a:lnTo>
                  <a:pt x="792" y="3"/>
                </a:lnTo>
                <a:lnTo>
                  <a:pt x="786" y="2"/>
                </a:lnTo>
                <a:lnTo>
                  <a:pt x="778" y="0"/>
                </a:lnTo>
                <a:lnTo>
                  <a:pt x="778" y="0"/>
                </a:lnTo>
                <a:close/>
                <a:moveTo>
                  <a:pt x="711" y="445"/>
                </a:moveTo>
                <a:lnTo>
                  <a:pt x="711" y="445"/>
                </a:lnTo>
                <a:lnTo>
                  <a:pt x="702" y="444"/>
                </a:lnTo>
                <a:lnTo>
                  <a:pt x="695" y="441"/>
                </a:lnTo>
                <a:lnTo>
                  <a:pt x="689" y="438"/>
                </a:lnTo>
                <a:lnTo>
                  <a:pt x="683" y="434"/>
                </a:lnTo>
                <a:lnTo>
                  <a:pt x="680" y="428"/>
                </a:lnTo>
                <a:lnTo>
                  <a:pt x="676" y="422"/>
                </a:lnTo>
                <a:lnTo>
                  <a:pt x="674" y="415"/>
                </a:lnTo>
                <a:lnTo>
                  <a:pt x="672" y="406"/>
                </a:lnTo>
                <a:lnTo>
                  <a:pt x="672" y="406"/>
                </a:lnTo>
                <a:lnTo>
                  <a:pt x="674" y="399"/>
                </a:lnTo>
                <a:lnTo>
                  <a:pt x="676" y="392"/>
                </a:lnTo>
                <a:lnTo>
                  <a:pt x="680" y="386"/>
                </a:lnTo>
                <a:lnTo>
                  <a:pt x="683" y="380"/>
                </a:lnTo>
                <a:lnTo>
                  <a:pt x="689" y="375"/>
                </a:lnTo>
                <a:lnTo>
                  <a:pt x="695" y="372"/>
                </a:lnTo>
                <a:lnTo>
                  <a:pt x="702" y="369"/>
                </a:lnTo>
                <a:lnTo>
                  <a:pt x="711" y="369"/>
                </a:lnTo>
                <a:lnTo>
                  <a:pt x="711" y="369"/>
                </a:lnTo>
                <a:lnTo>
                  <a:pt x="718" y="369"/>
                </a:lnTo>
                <a:lnTo>
                  <a:pt x="725" y="372"/>
                </a:lnTo>
                <a:lnTo>
                  <a:pt x="731" y="375"/>
                </a:lnTo>
                <a:lnTo>
                  <a:pt x="737" y="380"/>
                </a:lnTo>
                <a:lnTo>
                  <a:pt x="742" y="386"/>
                </a:lnTo>
                <a:lnTo>
                  <a:pt x="746" y="392"/>
                </a:lnTo>
                <a:lnTo>
                  <a:pt x="748" y="399"/>
                </a:lnTo>
                <a:lnTo>
                  <a:pt x="748" y="406"/>
                </a:lnTo>
                <a:lnTo>
                  <a:pt x="748" y="406"/>
                </a:lnTo>
                <a:lnTo>
                  <a:pt x="748" y="415"/>
                </a:lnTo>
                <a:lnTo>
                  <a:pt x="746" y="422"/>
                </a:lnTo>
                <a:lnTo>
                  <a:pt x="742" y="428"/>
                </a:lnTo>
                <a:lnTo>
                  <a:pt x="737" y="434"/>
                </a:lnTo>
                <a:lnTo>
                  <a:pt x="731" y="438"/>
                </a:lnTo>
                <a:lnTo>
                  <a:pt x="725" y="441"/>
                </a:lnTo>
                <a:lnTo>
                  <a:pt x="718" y="444"/>
                </a:lnTo>
                <a:lnTo>
                  <a:pt x="711" y="445"/>
                </a:lnTo>
                <a:lnTo>
                  <a:pt x="711" y="445"/>
                </a:lnTo>
                <a:close/>
                <a:moveTo>
                  <a:pt x="765" y="103"/>
                </a:moveTo>
                <a:lnTo>
                  <a:pt x="657" y="103"/>
                </a:lnTo>
                <a:lnTo>
                  <a:pt x="657" y="103"/>
                </a:lnTo>
                <a:lnTo>
                  <a:pt x="653" y="103"/>
                </a:lnTo>
                <a:lnTo>
                  <a:pt x="649" y="102"/>
                </a:lnTo>
                <a:lnTo>
                  <a:pt x="643" y="98"/>
                </a:lnTo>
                <a:lnTo>
                  <a:pt x="640" y="92"/>
                </a:lnTo>
                <a:lnTo>
                  <a:pt x="639" y="90"/>
                </a:lnTo>
                <a:lnTo>
                  <a:pt x="639" y="85"/>
                </a:lnTo>
                <a:lnTo>
                  <a:pt x="639" y="85"/>
                </a:lnTo>
                <a:lnTo>
                  <a:pt x="639" y="81"/>
                </a:lnTo>
                <a:lnTo>
                  <a:pt x="640" y="79"/>
                </a:lnTo>
                <a:lnTo>
                  <a:pt x="643" y="73"/>
                </a:lnTo>
                <a:lnTo>
                  <a:pt x="649" y="69"/>
                </a:lnTo>
                <a:lnTo>
                  <a:pt x="653" y="68"/>
                </a:lnTo>
                <a:lnTo>
                  <a:pt x="657" y="68"/>
                </a:lnTo>
                <a:lnTo>
                  <a:pt x="765" y="68"/>
                </a:lnTo>
                <a:lnTo>
                  <a:pt x="765" y="68"/>
                </a:lnTo>
                <a:lnTo>
                  <a:pt x="769" y="68"/>
                </a:lnTo>
                <a:lnTo>
                  <a:pt x="771" y="69"/>
                </a:lnTo>
                <a:lnTo>
                  <a:pt x="777" y="73"/>
                </a:lnTo>
                <a:lnTo>
                  <a:pt x="781" y="79"/>
                </a:lnTo>
                <a:lnTo>
                  <a:pt x="782" y="81"/>
                </a:lnTo>
                <a:lnTo>
                  <a:pt x="782" y="85"/>
                </a:lnTo>
                <a:lnTo>
                  <a:pt x="782" y="85"/>
                </a:lnTo>
                <a:lnTo>
                  <a:pt x="782" y="90"/>
                </a:lnTo>
                <a:lnTo>
                  <a:pt x="781" y="92"/>
                </a:lnTo>
                <a:lnTo>
                  <a:pt x="777" y="98"/>
                </a:lnTo>
                <a:lnTo>
                  <a:pt x="771" y="102"/>
                </a:lnTo>
                <a:lnTo>
                  <a:pt x="769" y="103"/>
                </a:lnTo>
                <a:lnTo>
                  <a:pt x="765" y="103"/>
                </a:lnTo>
                <a:lnTo>
                  <a:pt x="765" y="10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24" name="Freeform 206"/>
          <p:cNvSpPr>
            <a:spLocks noEditPoints="1"/>
          </p:cNvSpPr>
          <p:nvPr/>
        </p:nvSpPr>
        <p:spPr bwMode="auto">
          <a:xfrm>
            <a:off x="8471626" y="2142256"/>
            <a:ext cx="356144" cy="363856"/>
          </a:xfrm>
          <a:custGeom>
            <a:avLst/>
            <a:gdLst>
              <a:gd name="T0" fmla="*/ 272 w 736"/>
              <a:gd name="T1" fmla="*/ 192 h 738"/>
              <a:gd name="T2" fmla="*/ 183 w 736"/>
              <a:gd name="T3" fmla="*/ 290 h 738"/>
              <a:gd name="T4" fmla="*/ 171 w 736"/>
              <a:gd name="T5" fmla="*/ 410 h 738"/>
              <a:gd name="T6" fmla="*/ 241 w 736"/>
              <a:gd name="T7" fmla="*/ 524 h 738"/>
              <a:gd name="T8" fmla="*/ 368 w 736"/>
              <a:gd name="T9" fmla="*/ 570 h 738"/>
              <a:gd name="T10" fmla="*/ 480 w 736"/>
              <a:gd name="T11" fmla="*/ 535 h 738"/>
              <a:gd name="T12" fmla="*/ 559 w 736"/>
              <a:gd name="T13" fmla="*/ 429 h 738"/>
              <a:gd name="T14" fmla="*/ 559 w 736"/>
              <a:gd name="T15" fmla="*/ 309 h 738"/>
              <a:gd name="T16" fmla="*/ 480 w 736"/>
              <a:gd name="T17" fmla="*/ 203 h 738"/>
              <a:gd name="T18" fmla="*/ 368 w 736"/>
              <a:gd name="T19" fmla="*/ 168 h 738"/>
              <a:gd name="T20" fmla="*/ 319 w 736"/>
              <a:gd name="T21" fmla="*/ 460 h 738"/>
              <a:gd name="T22" fmla="*/ 272 w 736"/>
              <a:gd name="T23" fmla="*/ 410 h 738"/>
              <a:gd name="T24" fmla="*/ 266 w 736"/>
              <a:gd name="T25" fmla="*/ 347 h 738"/>
              <a:gd name="T26" fmla="*/ 302 w 736"/>
              <a:gd name="T27" fmla="*/ 288 h 738"/>
              <a:gd name="T28" fmla="*/ 368 w 736"/>
              <a:gd name="T29" fmla="*/ 264 h 738"/>
              <a:gd name="T30" fmla="*/ 427 w 736"/>
              <a:gd name="T31" fmla="*/ 282 h 738"/>
              <a:gd name="T32" fmla="*/ 468 w 736"/>
              <a:gd name="T33" fmla="*/ 337 h 738"/>
              <a:gd name="T34" fmla="*/ 468 w 736"/>
              <a:gd name="T35" fmla="*/ 400 h 738"/>
              <a:gd name="T36" fmla="*/ 427 w 736"/>
              <a:gd name="T37" fmla="*/ 456 h 738"/>
              <a:gd name="T38" fmla="*/ 368 w 736"/>
              <a:gd name="T39" fmla="*/ 474 h 738"/>
              <a:gd name="T40" fmla="*/ 19 w 736"/>
              <a:gd name="T41" fmla="*/ 19 h 738"/>
              <a:gd name="T42" fmla="*/ 1 w 736"/>
              <a:gd name="T43" fmla="*/ 685 h 738"/>
              <a:gd name="T44" fmla="*/ 67 w 736"/>
              <a:gd name="T45" fmla="*/ 738 h 738"/>
              <a:gd name="T46" fmla="*/ 724 w 736"/>
              <a:gd name="T47" fmla="*/ 707 h 738"/>
              <a:gd name="T48" fmla="*/ 731 w 736"/>
              <a:gd name="T49" fmla="*/ 41 h 738"/>
              <a:gd name="T50" fmla="*/ 668 w 736"/>
              <a:gd name="T51" fmla="*/ 0 h 738"/>
              <a:gd name="T52" fmla="*/ 131 w 736"/>
              <a:gd name="T53" fmla="*/ 80 h 738"/>
              <a:gd name="T54" fmla="*/ 131 w 736"/>
              <a:gd name="T55" fmla="*/ 122 h 738"/>
              <a:gd name="T56" fmla="*/ 93 w 736"/>
              <a:gd name="T57" fmla="*/ 137 h 738"/>
              <a:gd name="T58" fmla="*/ 63 w 736"/>
              <a:gd name="T59" fmla="*/ 100 h 738"/>
              <a:gd name="T60" fmla="*/ 85 w 736"/>
              <a:gd name="T61" fmla="*/ 66 h 738"/>
              <a:gd name="T62" fmla="*/ 85 w 736"/>
              <a:gd name="T63" fmla="*/ 671 h 738"/>
              <a:gd name="T64" fmla="*/ 63 w 736"/>
              <a:gd name="T65" fmla="*/ 638 h 738"/>
              <a:gd name="T66" fmla="*/ 93 w 736"/>
              <a:gd name="T67" fmla="*/ 600 h 738"/>
              <a:gd name="T68" fmla="*/ 131 w 736"/>
              <a:gd name="T69" fmla="*/ 616 h 738"/>
              <a:gd name="T70" fmla="*/ 131 w 736"/>
              <a:gd name="T71" fmla="*/ 658 h 738"/>
              <a:gd name="T72" fmla="*/ 368 w 736"/>
              <a:gd name="T73" fmla="*/ 641 h 738"/>
              <a:gd name="T74" fmla="*/ 216 w 736"/>
              <a:gd name="T75" fmla="*/ 594 h 738"/>
              <a:gd name="T76" fmla="*/ 108 w 736"/>
              <a:gd name="T77" fmla="*/ 450 h 738"/>
              <a:gd name="T78" fmla="*/ 108 w 736"/>
              <a:gd name="T79" fmla="*/ 288 h 738"/>
              <a:gd name="T80" fmla="*/ 216 w 736"/>
              <a:gd name="T81" fmla="*/ 143 h 738"/>
              <a:gd name="T82" fmla="*/ 368 w 736"/>
              <a:gd name="T83" fmla="*/ 96 h 738"/>
              <a:gd name="T84" fmla="*/ 541 w 736"/>
              <a:gd name="T85" fmla="*/ 159 h 738"/>
              <a:gd name="T86" fmla="*/ 634 w 736"/>
              <a:gd name="T87" fmla="*/ 313 h 738"/>
              <a:gd name="T88" fmla="*/ 618 w 736"/>
              <a:gd name="T89" fmla="*/ 475 h 738"/>
              <a:gd name="T90" fmla="*/ 498 w 736"/>
              <a:gd name="T91" fmla="*/ 609 h 738"/>
              <a:gd name="T92" fmla="*/ 636 w 736"/>
              <a:gd name="T93" fmla="*/ 675 h 738"/>
              <a:gd name="T94" fmla="*/ 601 w 736"/>
              <a:gd name="T95" fmla="*/ 652 h 738"/>
              <a:gd name="T96" fmla="*/ 608 w 736"/>
              <a:gd name="T97" fmla="*/ 610 h 738"/>
              <a:gd name="T98" fmla="*/ 650 w 736"/>
              <a:gd name="T99" fmla="*/ 603 h 738"/>
              <a:gd name="T100" fmla="*/ 673 w 736"/>
              <a:gd name="T101" fmla="*/ 638 h 738"/>
              <a:gd name="T102" fmla="*/ 643 w 736"/>
              <a:gd name="T103" fmla="*/ 674 h 738"/>
              <a:gd name="T104" fmla="*/ 614 w 736"/>
              <a:gd name="T105" fmla="*/ 131 h 738"/>
              <a:gd name="T106" fmla="*/ 599 w 736"/>
              <a:gd name="T107" fmla="*/ 93 h 738"/>
              <a:gd name="T108" fmla="*/ 636 w 736"/>
              <a:gd name="T109" fmla="*/ 63 h 738"/>
              <a:gd name="T110" fmla="*/ 670 w 736"/>
              <a:gd name="T111" fmla="*/ 86 h 738"/>
              <a:gd name="T112" fmla="*/ 662 w 736"/>
              <a:gd name="T113" fmla="*/ 128 h 7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36" h="738">
                <a:moveTo>
                  <a:pt x="368" y="168"/>
                </a:moveTo>
                <a:lnTo>
                  <a:pt x="368" y="168"/>
                </a:lnTo>
                <a:lnTo>
                  <a:pt x="347" y="169"/>
                </a:lnTo>
                <a:lnTo>
                  <a:pt x="327" y="171"/>
                </a:lnTo>
                <a:lnTo>
                  <a:pt x="308" y="177"/>
                </a:lnTo>
                <a:lnTo>
                  <a:pt x="290" y="183"/>
                </a:lnTo>
                <a:lnTo>
                  <a:pt x="272" y="192"/>
                </a:lnTo>
                <a:lnTo>
                  <a:pt x="256" y="203"/>
                </a:lnTo>
                <a:lnTo>
                  <a:pt x="241" y="213"/>
                </a:lnTo>
                <a:lnTo>
                  <a:pt x="226" y="227"/>
                </a:lnTo>
                <a:lnTo>
                  <a:pt x="213" y="241"/>
                </a:lnTo>
                <a:lnTo>
                  <a:pt x="202" y="257"/>
                </a:lnTo>
                <a:lnTo>
                  <a:pt x="191" y="272"/>
                </a:lnTo>
                <a:lnTo>
                  <a:pt x="183" y="290"/>
                </a:lnTo>
                <a:lnTo>
                  <a:pt x="177" y="309"/>
                </a:lnTo>
                <a:lnTo>
                  <a:pt x="171" y="328"/>
                </a:lnTo>
                <a:lnTo>
                  <a:pt x="168" y="348"/>
                </a:lnTo>
                <a:lnTo>
                  <a:pt x="167" y="369"/>
                </a:lnTo>
                <a:lnTo>
                  <a:pt x="167" y="369"/>
                </a:lnTo>
                <a:lnTo>
                  <a:pt x="168" y="389"/>
                </a:lnTo>
                <a:lnTo>
                  <a:pt x="171" y="410"/>
                </a:lnTo>
                <a:lnTo>
                  <a:pt x="177" y="429"/>
                </a:lnTo>
                <a:lnTo>
                  <a:pt x="183" y="447"/>
                </a:lnTo>
                <a:lnTo>
                  <a:pt x="191" y="465"/>
                </a:lnTo>
                <a:lnTo>
                  <a:pt x="202" y="481"/>
                </a:lnTo>
                <a:lnTo>
                  <a:pt x="213" y="497"/>
                </a:lnTo>
                <a:lnTo>
                  <a:pt x="226" y="511"/>
                </a:lnTo>
                <a:lnTo>
                  <a:pt x="241" y="524"/>
                </a:lnTo>
                <a:lnTo>
                  <a:pt x="256" y="535"/>
                </a:lnTo>
                <a:lnTo>
                  <a:pt x="272" y="546"/>
                </a:lnTo>
                <a:lnTo>
                  <a:pt x="290" y="554"/>
                </a:lnTo>
                <a:lnTo>
                  <a:pt x="308" y="560"/>
                </a:lnTo>
                <a:lnTo>
                  <a:pt x="327" y="566"/>
                </a:lnTo>
                <a:lnTo>
                  <a:pt x="347" y="569"/>
                </a:lnTo>
                <a:lnTo>
                  <a:pt x="368" y="570"/>
                </a:lnTo>
                <a:lnTo>
                  <a:pt x="368" y="570"/>
                </a:lnTo>
                <a:lnTo>
                  <a:pt x="388" y="569"/>
                </a:lnTo>
                <a:lnTo>
                  <a:pt x="409" y="566"/>
                </a:lnTo>
                <a:lnTo>
                  <a:pt x="428" y="560"/>
                </a:lnTo>
                <a:lnTo>
                  <a:pt x="446" y="554"/>
                </a:lnTo>
                <a:lnTo>
                  <a:pt x="464" y="546"/>
                </a:lnTo>
                <a:lnTo>
                  <a:pt x="480" y="535"/>
                </a:lnTo>
                <a:lnTo>
                  <a:pt x="495" y="524"/>
                </a:lnTo>
                <a:lnTo>
                  <a:pt x="510" y="511"/>
                </a:lnTo>
                <a:lnTo>
                  <a:pt x="523" y="497"/>
                </a:lnTo>
                <a:lnTo>
                  <a:pt x="534" y="481"/>
                </a:lnTo>
                <a:lnTo>
                  <a:pt x="545" y="465"/>
                </a:lnTo>
                <a:lnTo>
                  <a:pt x="553" y="447"/>
                </a:lnTo>
                <a:lnTo>
                  <a:pt x="559" y="429"/>
                </a:lnTo>
                <a:lnTo>
                  <a:pt x="565" y="410"/>
                </a:lnTo>
                <a:lnTo>
                  <a:pt x="567" y="389"/>
                </a:lnTo>
                <a:lnTo>
                  <a:pt x="569" y="369"/>
                </a:lnTo>
                <a:lnTo>
                  <a:pt x="569" y="369"/>
                </a:lnTo>
                <a:lnTo>
                  <a:pt x="567" y="348"/>
                </a:lnTo>
                <a:lnTo>
                  <a:pt x="565" y="328"/>
                </a:lnTo>
                <a:lnTo>
                  <a:pt x="559" y="309"/>
                </a:lnTo>
                <a:lnTo>
                  <a:pt x="553" y="290"/>
                </a:lnTo>
                <a:lnTo>
                  <a:pt x="545" y="272"/>
                </a:lnTo>
                <a:lnTo>
                  <a:pt x="534" y="257"/>
                </a:lnTo>
                <a:lnTo>
                  <a:pt x="523" y="241"/>
                </a:lnTo>
                <a:lnTo>
                  <a:pt x="510" y="227"/>
                </a:lnTo>
                <a:lnTo>
                  <a:pt x="495" y="213"/>
                </a:lnTo>
                <a:lnTo>
                  <a:pt x="480" y="203"/>
                </a:lnTo>
                <a:lnTo>
                  <a:pt x="464" y="192"/>
                </a:lnTo>
                <a:lnTo>
                  <a:pt x="446" y="183"/>
                </a:lnTo>
                <a:lnTo>
                  <a:pt x="428" y="177"/>
                </a:lnTo>
                <a:lnTo>
                  <a:pt x="409" y="171"/>
                </a:lnTo>
                <a:lnTo>
                  <a:pt x="388" y="169"/>
                </a:lnTo>
                <a:lnTo>
                  <a:pt x="368" y="168"/>
                </a:lnTo>
                <a:lnTo>
                  <a:pt x="368" y="168"/>
                </a:lnTo>
                <a:close/>
                <a:moveTo>
                  <a:pt x="368" y="474"/>
                </a:moveTo>
                <a:lnTo>
                  <a:pt x="368" y="474"/>
                </a:lnTo>
                <a:lnTo>
                  <a:pt x="357" y="472"/>
                </a:lnTo>
                <a:lnTo>
                  <a:pt x="346" y="471"/>
                </a:lnTo>
                <a:lnTo>
                  <a:pt x="337" y="469"/>
                </a:lnTo>
                <a:lnTo>
                  <a:pt x="327" y="465"/>
                </a:lnTo>
                <a:lnTo>
                  <a:pt x="319" y="460"/>
                </a:lnTo>
                <a:lnTo>
                  <a:pt x="309" y="456"/>
                </a:lnTo>
                <a:lnTo>
                  <a:pt x="302" y="450"/>
                </a:lnTo>
                <a:lnTo>
                  <a:pt x="295" y="442"/>
                </a:lnTo>
                <a:lnTo>
                  <a:pt x="287" y="435"/>
                </a:lnTo>
                <a:lnTo>
                  <a:pt x="281" y="428"/>
                </a:lnTo>
                <a:lnTo>
                  <a:pt x="277" y="418"/>
                </a:lnTo>
                <a:lnTo>
                  <a:pt x="272" y="410"/>
                </a:lnTo>
                <a:lnTo>
                  <a:pt x="268" y="400"/>
                </a:lnTo>
                <a:lnTo>
                  <a:pt x="266" y="390"/>
                </a:lnTo>
                <a:lnTo>
                  <a:pt x="265" y="380"/>
                </a:lnTo>
                <a:lnTo>
                  <a:pt x="263" y="369"/>
                </a:lnTo>
                <a:lnTo>
                  <a:pt x="263" y="369"/>
                </a:lnTo>
                <a:lnTo>
                  <a:pt x="265" y="358"/>
                </a:lnTo>
                <a:lnTo>
                  <a:pt x="266" y="347"/>
                </a:lnTo>
                <a:lnTo>
                  <a:pt x="268" y="337"/>
                </a:lnTo>
                <a:lnTo>
                  <a:pt x="272" y="328"/>
                </a:lnTo>
                <a:lnTo>
                  <a:pt x="277" y="319"/>
                </a:lnTo>
                <a:lnTo>
                  <a:pt x="281" y="310"/>
                </a:lnTo>
                <a:lnTo>
                  <a:pt x="287" y="303"/>
                </a:lnTo>
                <a:lnTo>
                  <a:pt x="295" y="295"/>
                </a:lnTo>
                <a:lnTo>
                  <a:pt x="302" y="288"/>
                </a:lnTo>
                <a:lnTo>
                  <a:pt x="309" y="282"/>
                </a:lnTo>
                <a:lnTo>
                  <a:pt x="319" y="277"/>
                </a:lnTo>
                <a:lnTo>
                  <a:pt x="327" y="272"/>
                </a:lnTo>
                <a:lnTo>
                  <a:pt x="337" y="269"/>
                </a:lnTo>
                <a:lnTo>
                  <a:pt x="346" y="266"/>
                </a:lnTo>
                <a:lnTo>
                  <a:pt x="357" y="265"/>
                </a:lnTo>
                <a:lnTo>
                  <a:pt x="368" y="264"/>
                </a:lnTo>
                <a:lnTo>
                  <a:pt x="368" y="264"/>
                </a:lnTo>
                <a:lnTo>
                  <a:pt x="379" y="265"/>
                </a:lnTo>
                <a:lnTo>
                  <a:pt x="390" y="266"/>
                </a:lnTo>
                <a:lnTo>
                  <a:pt x="399" y="269"/>
                </a:lnTo>
                <a:lnTo>
                  <a:pt x="409" y="272"/>
                </a:lnTo>
                <a:lnTo>
                  <a:pt x="417" y="277"/>
                </a:lnTo>
                <a:lnTo>
                  <a:pt x="427" y="282"/>
                </a:lnTo>
                <a:lnTo>
                  <a:pt x="434" y="288"/>
                </a:lnTo>
                <a:lnTo>
                  <a:pt x="441" y="295"/>
                </a:lnTo>
                <a:lnTo>
                  <a:pt x="448" y="303"/>
                </a:lnTo>
                <a:lnTo>
                  <a:pt x="454" y="310"/>
                </a:lnTo>
                <a:lnTo>
                  <a:pt x="459" y="319"/>
                </a:lnTo>
                <a:lnTo>
                  <a:pt x="464" y="328"/>
                </a:lnTo>
                <a:lnTo>
                  <a:pt x="468" y="337"/>
                </a:lnTo>
                <a:lnTo>
                  <a:pt x="470" y="347"/>
                </a:lnTo>
                <a:lnTo>
                  <a:pt x="471" y="358"/>
                </a:lnTo>
                <a:lnTo>
                  <a:pt x="472" y="369"/>
                </a:lnTo>
                <a:lnTo>
                  <a:pt x="472" y="369"/>
                </a:lnTo>
                <a:lnTo>
                  <a:pt x="471" y="380"/>
                </a:lnTo>
                <a:lnTo>
                  <a:pt x="470" y="390"/>
                </a:lnTo>
                <a:lnTo>
                  <a:pt x="468" y="400"/>
                </a:lnTo>
                <a:lnTo>
                  <a:pt x="464" y="410"/>
                </a:lnTo>
                <a:lnTo>
                  <a:pt x="459" y="418"/>
                </a:lnTo>
                <a:lnTo>
                  <a:pt x="454" y="428"/>
                </a:lnTo>
                <a:lnTo>
                  <a:pt x="448" y="435"/>
                </a:lnTo>
                <a:lnTo>
                  <a:pt x="441" y="442"/>
                </a:lnTo>
                <a:lnTo>
                  <a:pt x="434" y="450"/>
                </a:lnTo>
                <a:lnTo>
                  <a:pt x="427" y="456"/>
                </a:lnTo>
                <a:lnTo>
                  <a:pt x="417" y="460"/>
                </a:lnTo>
                <a:lnTo>
                  <a:pt x="409" y="465"/>
                </a:lnTo>
                <a:lnTo>
                  <a:pt x="399" y="469"/>
                </a:lnTo>
                <a:lnTo>
                  <a:pt x="390" y="471"/>
                </a:lnTo>
                <a:lnTo>
                  <a:pt x="379" y="472"/>
                </a:lnTo>
                <a:lnTo>
                  <a:pt x="368" y="474"/>
                </a:lnTo>
                <a:lnTo>
                  <a:pt x="368" y="474"/>
                </a:lnTo>
                <a:close/>
                <a:moveTo>
                  <a:pt x="668" y="0"/>
                </a:moveTo>
                <a:lnTo>
                  <a:pt x="67" y="0"/>
                </a:lnTo>
                <a:lnTo>
                  <a:pt x="67" y="0"/>
                </a:lnTo>
                <a:lnTo>
                  <a:pt x="53" y="1"/>
                </a:lnTo>
                <a:lnTo>
                  <a:pt x="41" y="5"/>
                </a:lnTo>
                <a:lnTo>
                  <a:pt x="30" y="12"/>
                </a:lnTo>
                <a:lnTo>
                  <a:pt x="19" y="19"/>
                </a:lnTo>
                <a:lnTo>
                  <a:pt x="12" y="30"/>
                </a:lnTo>
                <a:lnTo>
                  <a:pt x="5" y="41"/>
                </a:lnTo>
                <a:lnTo>
                  <a:pt x="1" y="53"/>
                </a:lnTo>
                <a:lnTo>
                  <a:pt x="0" y="68"/>
                </a:lnTo>
                <a:lnTo>
                  <a:pt x="0" y="670"/>
                </a:lnTo>
                <a:lnTo>
                  <a:pt x="0" y="670"/>
                </a:lnTo>
                <a:lnTo>
                  <a:pt x="1" y="685"/>
                </a:lnTo>
                <a:lnTo>
                  <a:pt x="5" y="697"/>
                </a:lnTo>
                <a:lnTo>
                  <a:pt x="12" y="707"/>
                </a:lnTo>
                <a:lnTo>
                  <a:pt x="19" y="718"/>
                </a:lnTo>
                <a:lnTo>
                  <a:pt x="30" y="725"/>
                </a:lnTo>
                <a:lnTo>
                  <a:pt x="41" y="733"/>
                </a:lnTo>
                <a:lnTo>
                  <a:pt x="53" y="736"/>
                </a:lnTo>
                <a:lnTo>
                  <a:pt x="67" y="738"/>
                </a:lnTo>
                <a:lnTo>
                  <a:pt x="668" y="738"/>
                </a:lnTo>
                <a:lnTo>
                  <a:pt x="668" y="738"/>
                </a:lnTo>
                <a:lnTo>
                  <a:pt x="683" y="736"/>
                </a:lnTo>
                <a:lnTo>
                  <a:pt x="695" y="733"/>
                </a:lnTo>
                <a:lnTo>
                  <a:pt x="706" y="725"/>
                </a:lnTo>
                <a:lnTo>
                  <a:pt x="716" y="718"/>
                </a:lnTo>
                <a:lnTo>
                  <a:pt x="724" y="707"/>
                </a:lnTo>
                <a:lnTo>
                  <a:pt x="731" y="697"/>
                </a:lnTo>
                <a:lnTo>
                  <a:pt x="734" y="685"/>
                </a:lnTo>
                <a:lnTo>
                  <a:pt x="736" y="670"/>
                </a:lnTo>
                <a:lnTo>
                  <a:pt x="736" y="68"/>
                </a:lnTo>
                <a:lnTo>
                  <a:pt x="736" y="68"/>
                </a:lnTo>
                <a:lnTo>
                  <a:pt x="734" y="53"/>
                </a:lnTo>
                <a:lnTo>
                  <a:pt x="731" y="41"/>
                </a:lnTo>
                <a:lnTo>
                  <a:pt x="724" y="30"/>
                </a:lnTo>
                <a:lnTo>
                  <a:pt x="716" y="19"/>
                </a:lnTo>
                <a:lnTo>
                  <a:pt x="706" y="12"/>
                </a:lnTo>
                <a:lnTo>
                  <a:pt x="695" y="5"/>
                </a:lnTo>
                <a:lnTo>
                  <a:pt x="683" y="1"/>
                </a:lnTo>
                <a:lnTo>
                  <a:pt x="668" y="0"/>
                </a:lnTo>
                <a:lnTo>
                  <a:pt x="668" y="0"/>
                </a:lnTo>
                <a:close/>
                <a:moveTo>
                  <a:pt x="100" y="63"/>
                </a:moveTo>
                <a:lnTo>
                  <a:pt x="100" y="63"/>
                </a:lnTo>
                <a:lnTo>
                  <a:pt x="108" y="64"/>
                </a:lnTo>
                <a:lnTo>
                  <a:pt x="116" y="66"/>
                </a:lnTo>
                <a:lnTo>
                  <a:pt x="122" y="70"/>
                </a:lnTo>
                <a:lnTo>
                  <a:pt x="128" y="74"/>
                </a:lnTo>
                <a:lnTo>
                  <a:pt x="131" y="80"/>
                </a:lnTo>
                <a:lnTo>
                  <a:pt x="135" y="86"/>
                </a:lnTo>
                <a:lnTo>
                  <a:pt x="137" y="93"/>
                </a:lnTo>
                <a:lnTo>
                  <a:pt x="138" y="100"/>
                </a:lnTo>
                <a:lnTo>
                  <a:pt x="138" y="100"/>
                </a:lnTo>
                <a:lnTo>
                  <a:pt x="137" y="109"/>
                </a:lnTo>
                <a:lnTo>
                  <a:pt x="135" y="116"/>
                </a:lnTo>
                <a:lnTo>
                  <a:pt x="131" y="122"/>
                </a:lnTo>
                <a:lnTo>
                  <a:pt x="128" y="128"/>
                </a:lnTo>
                <a:lnTo>
                  <a:pt x="122" y="131"/>
                </a:lnTo>
                <a:lnTo>
                  <a:pt x="116" y="135"/>
                </a:lnTo>
                <a:lnTo>
                  <a:pt x="108" y="137"/>
                </a:lnTo>
                <a:lnTo>
                  <a:pt x="100" y="139"/>
                </a:lnTo>
                <a:lnTo>
                  <a:pt x="100" y="139"/>
                </a:lnTo>
                <a:lnTo>
                  <a:pt x="93" y="137"/>
                </a:lnTo>
                <a:lnTo>
                  <a:pt x="85" y="135"/>
                </a:lnTo>
                <a:lnTo>
                  <a:pt x="79" y="131"/>
                </a:lnTo>
                <a:lnTo>
                  <a:pt x="73" y="128"/>
                </a:lnTo>
                <a:lnTo>
                  <a:pt x="70" y="122"/>
                </a:lnTo>
                <a:lnTo>
                  <a:pt x="66" y="116"/>
                </a:lnTo>
                <a:lnTo>
                  <a:pt x="64" y="109"/>
                </a:lnTo>
                <a:lnTo>
                  <a:pt x="63" y="100"/>
                </a:lnTo>
                <a:lnTo>
                  <a:pt x="63" y="100"/>
                </a:lnTo>
                <a:lnTo>
                  <a:pt x="64" y="93"/>
                </a:lnTo>
                <a:lnTo>
                  <a:pt x="66" y="86"/>
                </a:lnTo>
                <a:lnTo>
                  <a:pt x="70" y="80"/>
                </a:lnTo>
                <a:lnTo>
                  <a:pt x="73" y="74"/>
                </a:lnTo>
                <a:lnTo>
                  <a:pt x="79" y="70"/>
                </a:lnTo>
                <a:lnTo>
                  <a:pt x="85" y="66"/>
                </a:lnTo>
                <a:lnTo>
                  <a:pt x="93" y="64"/>
                </a:lnTo>
                <a:lnTo>
                  <a:pt x="100" y="63"/>
                </a:lnTo>
                <a:lnTo>
                  <a:pt x="100" y="63"/>
                </a:lnTo>
                <a:close/>
                <a:moveTo>
                  <a:pt x="100" y="675"/>
                </a:moveTo>
                <a:lnTo>
                  <a:pt x="100" y="675"/>
                </a:lnTo>
                <a:lnTo>
                  <a:pt x="93" y="674"/>
                </a:lnTo>
                <a:lnTo>
                  <a:pt x="85" y="671"/>
                </a:lnTo>
                <a:lnTo>
                  <a:pt x="79" y="668"/>
                </a:lnTo>
                <a:lnTo>
                  <a:pt x="73" y="664"/>
                </a:lnTo>
                <a:lnTo>
                  <a:pt x="70" y="658"/>
                </a:lnTo>
                <a:lnTo>
                  <a:pt x="66" y="652"/>
                </a:lnTo>
                <a:lnTo>
                  <a:pt x="64" y="645"/>
                </a:lnTo>
                <a:lnTo>
                  <a:pt x="63" y="638"/>
                </a:lnTo>
                <a:lnTo>
                  <a:pt x="63" y="638"/>
                </a:lnTo>
                <a:lnTo>
                  <a:pt x="64" y="629"/>
                </a:lnTo>
                <a:lnTo>
                  <a:pt x="66" y="622"/>
                </a:lnTo>
                <a:lnTo>
                  <a:pt x="70" y="616"/>
                </a:lnTo>
                <a:lnTo>
                  <a:pt x="73" y="610"/>
                </a:lnTo>
                <a:lnTo>
                  <a:pt x="79" y="606"/>
                </a:lnTo>
                <a:lnTo>
                  <a:pt x="85" y="603"/>
                </a:lnTo>
                <a:lnTo>
                  <a:pt x="93" y="600"/>
                </a:lnTo>
                <a:lnTo>
                  <a:pt x="100" y="599"/>
                </a:lnTo>
                <a:lnTo>
                  <a:pt x="100" y="599"/>
                </a:lnTo>
                <a:lnTo>
                  <a:pt x="108" y="600"/>
                </a:lnTo>
                <a:lnTo>
                  <a:pt x="116" y="603"/>
                </a:lnTo>
                <a:lnTo>
                  <a:pt x="122" y="606"/>
                </a:lnTo>
                <a:lnTo>
                  <a:pt x="128" y="610"/>
                </a:lnTo>
                <a:lnTo>
                  <a:pt x="131" y="616"/>
                </a:lnTo>
                <a:lnTo>
                  <a:pt x="135" y="622"/>
                </a:lnTo>
                <a:lnTo>
                  <a:pt x="137" y="629"/>
                </a:lnTo>
                <a:lnTo>
                  <a:pt x="138" y="638"/>
                </a:lnTo>
                <a:lnTo>
                  <a:pt x="138" y="638"/>
                </a:lnTo>
                <a:lnTo>
                  <a:pt x="137" y="645"/>
                </a:lnTo>
                <a:lnTo>
                  <a:pt x="135" y="652"/>
                </a:lnTo>
                <a:lnTo>
                  <a:pt x="131" y="658"/>
                </a:lnTo>
                <a:lnTo>
                  <a:pt x="128" y="664"/>
                </a:lnTo>
                <a:lnTo>
                  <a:pt x="122" y="668"/>
                </a:lnTo>
                <a:lnTo>
                  <a:pt x="116" y="671"/>
                </a:lnTo>
                <a:lnTo>
                  <a:pt x="108" y="674"/>
                </a:lnTo>
                <a:lnTo>
                  <a:pt x="100" y="675"/>
                </a:lnTo>
                <a:lnTo>
                  <a:pt x="100" y="675"/>
                </a:lnTo>
                <a:close/>
                <a:moveTo>
                  <a:pt x="368" y="641"/>
                </a:moveTo>
                <a:lnTo>
                  <a:pt x="368" y="641"/>
                </a:lnTo>
                <a:lnTo>
                  <a:pt x="340" y="640"/>
                </a:lnTo>
                <a:lnTo>
                  <a:pt x="313" y="635"/>
                </a:lnTo>
                <a:lnTo>
                  <a:pt x="287" y="629"/>
                </a:lnTo>
                <a:lnTo>
                  <a:pt x="262" y="619"/>
                </a:lnTo>
                <a:lnTo>
                  <a:pt x="238" y="609"/>
                </a:lnTo>
                <a:lnTo>
                  <a:pt x="216" y="594"/>
                </a:lnTo>
                <a:lnTo>
                  <a:pt x="195" y="578"/>
                </a:lnTo>
                <a:lnTo>
                  <a:pt x="176" y="562"/>
                </a:lnTo>
                <a:lnTo>
                  <a:pt x="159" y="542"/>
                </a:lnTo>
                <a:lnTo>
                  <a:pt x="143" y="521"/>
                </a:lnTo>
                <a:lnTo>
                  <a:pt x="129" y="499"/>
                </a:lnTo>
                <a:lnTo>
                  <a:pt x="118" y="475"/>
                </a:lnTo>
                <a:lnTo>
                  <a:pt x="108" y="450"/>
                </a:lnTo>
                <a:lnTo>
                  <a:pt x="102" y="424"/>
                </a:lnTo>
                <a:lnTo>
                  <a:pt x="97" y="397"/>
                </a:lnTo>
                <a:lnTo>
                  <a:pt x="96" y="369"/>
                </a:lnTo>
                <a:lnTo>
                  <a:pt x="96" y="369"/>
                </a:lnTo>
                <a:lnTo>
                  <a:pt x="97" y="341"/>
                </a:lnTo>
                <a:lnTo>
                  <a:pt x="102" y="313"/>
                </a:lnTo>
                <a:lnTo>
                  <a:pt x="108" y="288"/>
                </a:lnTo>
                <a:lnTo>
                  <a:pt x="118" y="263"/>
                </a:lnTo>
                <a:lnTo>
                  <a:pt x="129" y="239"/>
                </a:lnTo>
                <a:lnTo>
                  <a:pt x="143" y="217"/>
                </a:lnTo>
                <a:lnTo>
                  <a:pt x="159" y="195"/>
                </a:lnTo>
                <a:lnTo>
                  <a:pt x="176" y="176"/>
                </a:lnTo>
                <a:lnTo>
                  <a:pt x="195" y="159"/>
                </a:lnTo>
                <a:lnTo>
                  <a:pt x="216" y="143"/>
                </a:lnTo>
                <a:lnTo>
                  <a:pt x="238" y="129"/>
                </a:lnTo>
                <a:lnTo>
                  <a:pt x="262" y="118"/>
                </a:lnTo>
                <a:lnTo>
                  <a:pt x="287" y="109"/>
                </a:lnTo>
                <a:lnTo>
                  <a:pt x="313" y="103"/>
                </a:lnTo>
                <a:lnTo>
                  <a:pt x="340" y="98"/>
                </a:lnTo>
                <a:lnTo>
                  <a:pt x="368" y="96"/>
                </a:lnTo>
                <a:lnTo>
                  <a:pt x="368" y="96"/>
                </a:lnTo>
                <a:lnTo>
                  <a:pt x="396" y="98"/>
                </a:lnTo>
                <a:lnTo>
                  <a:pt x="423" y="103"/>
                </a:lnTo>
                <a:lnTo>
                  <a:pt x="448" y="109"/>
                </a:lnTo>
                <a:lnTo>
                  <a:pt x="474" y="118"/>
                </a:lnTo>
                <a:lnTo>
                  <a:pt x="498" y="129"/>
                </a:lnTo>
                <a:lnTo>
                  <a:pt x="519" y="143"/>
                </a:lnTo>
                <a:lnTo>
                  <a:pt x="541" y="159"/>
                </a:lnTo>
                <a:lnTo>
                  <a:pt x="560" y="176"/>
                </a:lnTo>
                <a:lnTo>
                  <a:pt x="577" y="195"/>
                </a:lnTo>
                <a:lnTo>
                  <a:pt x="593" y="217"/>
                </a:lnTo>
                <a:lnTo>
                  <a:pt x="607" y="239"/>
                </a:lnTo>
                <a:lnTo>
                  <a:pt x="618" y="263"/>
                </a:lnTo>
                <a:lnTo>
                  <a:pt x="628" y="288"/>
                </a:lnTo>
                <a:lnTo>
                  <a:pt x="634" y="313"/>
                </a:lnTo>
                <a:lnTo>
                  <a:pt x="638" y="341"/>
                </a:lnTo>
                <a:lnTo>
                  <a:pt x="640" y="369"/>
                </a:lnTo>
                <a:lnTo>
                  <a:pt x="640" y="369"/>
                </a:lnTo>
                <a:lnTo>
                  <a:pt x="638" y="397"/>
                </a:lnTo>
                <a:lnTo>
                  <a:pt x="634" y="424"/>
                </a:lnTo>
                <a:lnTo>
                  <a:pt x="628" y="450"/>
                </a:lnTo>
                <a:lnTo>
                  <a:pt x="618" y="475"/>
                </a:lnTo>
                <a:lnTo>
                  <a:pt x="607" y="499"/>
                </a:lnTo>
                <a:lnTo>
                  <a:pt x="593" y="521"/>
                </a:lnTo>
                <a:lnTo>
                  <a:pt x="577" y="542"/>
                </a:lnTo>
                <a:lnTo>
                  <a:pt x="560" y="562"/>
                </a:lnTo>
                <a:lnTo>
                  <a:pt x="541" y="578"/>
                </a:lnTo>
                <a:lnTo>
                  <a:pt x="519" y="594"/>
                </a:lnTo>
                <a:lnTo>
                  <a:pt x="498" y="609"/>
                </a:lnTo>
                <a:lnTo>
                  <a:pt x="474" y="619"/>
                </a:lnTo>
                <a:lnTo>
                  <a:pt x="448" y="629"/>
                </a:lnTo>
                <a:lnTo>
                  <a:pt x="423" y="635"/>
                </a:lnTo>
                <a:lnTo>
                  <a:pt x="396" y="640"/>
                </a:lnTo>
                <a:lnTo>
                  <a:pt x="368" y="641"/>
                </a:lnTo>
                <a:lnTo>
                  <a:pt x="368" y="641"/>
                </a:lnTo>
                <a:close/>
                <a:moveTo>
                  <a:pt x="636" y="675"/>
                </a:moveTo>
                <a:lnTo>
                  <a:pt x="636" y="675"/>
                </a:lnTo>
                <a:lnTo>
                  <a:pt x="628" y="674"/>
                </a:lnTo>
                <a:lnTo>
                  <a:pt x="620" y="671"/>
                </a:lnTo>
                <a:lnTo>
                  <a:pt x="614" y="668"/>
                </a:lnTo>
                <a:lnTo>
                  <a:pt x="608" y="664"/>
                </a:lnTo>
                <a:lnTo>
                  <a:pt x="605" y="658"/>
                </a:lnTo>
                <a:lnTo>
                  <a:pt x="601" y="652"/>
                </a:lnTo>
                <a:lnTo>
                  <a:pt x="599" y="645"/>
                </a:lnTo>
                <a:lnTo>
                  <a:pt x="597" y="638"/>
                </a:lnTo>
                <a:lnTo>
                  <a:pt x="597" y="638"/>
                </a:lnTo>
                <a:lnTo>
                  <a:pt x="599" y="629"/>
                </a:lnTo>
                <a:lnTo>
                  <a:pt x="601" y="622"/>
                </a:lnTo>
                <a:lnTo>
                  <a:pt x="605" y="616"/>
                </a:lnTo>
                <a:lnTo>
                  <a:pt x="608" y="610"/>
                </a:lnTo>
                <a:lnTo>
                  <a:pt x="614" y="606"/>
                </a:lnTo>
                <a:lnTo>
                  <a:pt x="620" y="603"/>
                </a:lnTo>
                <a:lnTo>
                  <a:pt x="628" y="600"/>
                </a:lnTo>
                <a:lnTo>
                  <a:pt x="636" y="599"/>
                </a:lnTo>
                <a:lnTo>
                  <a:pt x="636" y="599"/>
                </a:lnTo>
                <a:lnTo>
                  <a:pt x="643" y="600"/>
                </a:lnTo>
                <a:lnTo>
                  <a:pt x="650" y="603"/>
                </a:lnTo>
                <a:lnTo>
                  <a:pt x="656" y="606"/>
                </a:lnTo>
                <a:lnTo>
                  <a:pt x="662" y="610"/>
                </a:lnTo>
                <a:lnTo>
                  <a:pt x="666" y="616"/>
                </a:lnTo>
                <a:lnTo>
                  <a:pt x="670" y="622"/>
                </a:lnTo>
                <a:lnTo>
                  <a:pt x="672" y="629"/>
                </a:lnTo>
                <a:lnTo>
                  <a:pt x="673" y="638"/>
                </a:lnTo>
                <a:lnTo>
                  <a:pt x="673" y="638"/>
                </a:lnTo>
                <a:lnTo>
                  <a:pt x="672" y="645"/>
                </a:lnTo>
                <a:lnTo>
                  <a:pt x="670" y="652"/>
                </a:lnTo>
                <a:lnTo>
                  <a:pt x="666" y="658"/>
                </a:lnTo>
                <a:lnTo>
                  <a:pt x="662" y="664"/>
                </a:lnTo>
                <a:lnTo>
                  <a:pt x="656" y="668"/>
                </a:lnTo>
                <a:lnTo>
                  <a:pt x="650" y="671"/>
                </a:lnTo>
                <a:lnTo>
                  <a:pt x="643" y="674"/>
                </a:lnTo>
                <a:lnTo>
                  <a:pt x="636" y="675"/>
                </a:lnTo>
                <a:lnTo>
                  <a:pt x="636" y="675"/>
                </a:lnTo>
                <a:close/>
                <a:moveTo>
                  <a:pt x="636" y="139"/>
                </a:moveTo>
                <a:lnTo>
                  <a:pt x="636" y="139"/>
                </a:lnTo>
                <a:lnTo>
                  <a:pt x="628" y="137"/>
                </a:lnTo>
                <a:lnTo>
                  <a:pt x="620" y="135"/>
                </a:lnTo>
                <a:lnTo>
                  <a:pt x="614" y="131"/>
                </a:lnTo>
                <a:lnTo>
                  <a:pt x="608" y="128"/>
                </a:lnTo>
                <a:lnTo>
                  <a:pt x="605" y="122"/>
                </a:lnTo>
                <a:lnTo>
                  <a:pt x="601" y="116"/>
                </a:lnTo>
                <a:lnTo>
                  <a:pt x="599" y="109"/>
                </a:lnTo>
                <a:lnTo>
                  <a:pt x="597" y="100"/>
                </a:lnTo>
                <a:lnTo>
                  <a:pt x="597" y="100"/>
                </a:lnTo>
                <a:lnTo>
                  <a:pt x="599" y="93"/>
                </a:lnTo>
                <a:lnTo>
                  <a:pt x="601" y="86"/>
                </a:lnTo>
                <a:lnTo>
                  <a:pt x="605" y="80"/>
                </a:lnTo>
                <a:lnTo>
                  <a:pt x="608" y="74"/>
                </a:lnTo>
                <a:lnTo>
                  <a:pt x="614" y="70"/>
                </a:lnTo>
                <a:lnTo>
                  <a:pt x="620" y="66"/>
                </a:lnTo>
                <a:lnTo>
                  <a:pt x="628" y="64"/>
                </a:lnTo>
                <a:lnTo>
                  <a:pt x="636" y="63"/>
                </a:lnTo>
                <a:lnTo>
                  <a:pt x="636" y="63"/>
                </a:lnTo>
                <a:lnTo>
                  <a:pt x="643" y="64"/>
                </a:lnTo>
                <a:lnTo>
                  <a:pt x="650" y="66"/>
                </a:lnTo>
                <a:lnTo>
                  <a:pt x="656" y="70"/>
                </a:lnTo>
                <a:lnTo>
                  <a:pt x="662" y="74"/>
                </a:lnTo>
                <a:lnTo>
                  <a:pt x="666" y="80"/>
                </a:lnTo>
                <a:lnTo>
                  <a:pt x="670" y="86"/>
                </a:lnTo>
                <a:lnTo>
                  <a:pt x="672" y="93"/>
                </a:lnTo>
                <a:lnTo>
                  <a:pt x="673" y="100"/>
                </a:lnTo>
                <a:lnTo>
                  <a:pt x="673" y="100"/>
                </a:lnTo>
                <a:lnTo>
                  <a:pt x="672" y="109"/>
                </a:lnTo>
                <a:lnTo>
                  <a:pt x="670" y="116"/>
                </a:lnTo>
                <a:lnTo>
                  <a:pt x="666" y="122"/>
                </a:lnTo>
                <a:lnTo>
                  <a:pt x="662" y="128"/>
                </a:lnTo>
                <a:lnTo>
                  <a:pt x="656" y="131"/>
                </a:lnTo>
                <a:lnTo>
                  <a:pt x="650" y="135"/>
                </a:lnTo>
                <a:lnTo>
                  <a:pt x="643" y="137"/>
                </a:lnTo>
                <a:lnTo>
                  <a:pt x="636" y="139"/>
                </a:lnTo>
                <a:lnTo>
                  <a:pt x="636" y="13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39" name="Freeform 8"/>
          <p:cNvSpPr>
            <a:spLocks noEditPoints="1"/>
          </p:cNvSpPr>
          <p:nvPr/>
        </p:nvSpPr>
        <p:spPr bwMode="auto">
          <a:xfrm>
            <a:off x="4024506" y="4442354"/>
            <a:ext cx="399743" cy="283450"/>
          </a:xfrm>
          <a:custGeom>
            <a:avLst/>
            <a:gdLst>
              <a:gd name="T0" fmla="*/ 747 w 1356"/>
              <a:gd name="T1" fmla="*/ 10 h 907"/>
              <a:gd name="T2" fmla="*/ 630 w 1356"/>
              <a:gd name="T3" fmla="*/ 1 h 907"/>
              <a:gd name="T4" fmla="*/ 574 w 1356"/>
              <a:gd name="T5" fmla="*/ 66 h 907"/>
              <a:gd name="T6" fmla="*/ 377 w 1356"/>
              <a:gd name="T7" fmla="*/ 100 h 907"/>
              <a:gd name="T8" fmla="*/ 187 w 1356"/>
              <a:gd name="T9" fmla="*/ 215 h 907"/>
              <a:gd name="T10" fmla="*/ 56 w 1356"/>
              <a:gd name="T11" fmla="*/ 391 h 907"/>
              <a:gd name="T12" fmla="*/ 0 w 1356"/>
              <a:gd name="T13" fmla="*/ 609 h 907"/>
              <a:gd name="T14" fmla="*/ 7 w 1356"/>
              <a:gd name="T15" fmla="*/ 829 h 907"/>
              <a:gd name="T16" fmla="*/ 50 w 1356"/>
              <a:gd name="T17" fmla="*/ 896 h 907"/>
              <a:gd name="T18" fmla="*/ 118 w 1356"/>
              <a:gd name="T19" fmla="*/ 904 h 907"/>
              <a:gd name="T20" fmla="*/ 284 w 1356"/>
              <a:gd name="T21" fmla="*/ 794 h 907"/>
              <a:gd name="T22" fmla="*/ 519 w 1356"/>
              <a:gd name="T23" fmla="*/ 629 h 907"/>
              <a:gd name="T24" fmla="*/ 678 w 1356"/>
              <a:gd name="T25" fmla="*/ 596 h 907"/>
              <a:gd name="T26" fmla="*/ 808 w 1356"/>
              <a:gd name="T27" fmla="*/ 618 h 907"/>
              <a:gd name="T28" fmla="*/ 1022 w 1356"/>
              <a:gd name="T29" fmla="*/ 752 h 907"/>
              <a:gd name="T30" fmla="*/ 1228 w 1356"/>
              <a:gd name="T31" fmla="*/ 901 h 907"/>
              <a:gd name="T32" fmla="*/ 1299 w 1356"/>
              <a:gd name="T33" fmla="*/ 899 h 907"/>
              <a:gd name="T34" fmla="*/ 1344 w 1356"/>
              <a:gd name="T35" fmla="*/ 841 h 907"/>
              <a:gd name="T36" fmla="*/ 1356 w 1356"/>
              <a:gd name="T37" fmla="*/ 639 h 907"/>
              <a:gd name="T38" fmla="*/ 1311 w 1356"/>
              <a:gd name="T39" fmla="*/ 416 h 907"/>
              <a:gd name="T40" fmla="*/ 1188 w 1356"/>
              <a:gd name="T41" fmla="*/ 233 h 907"/>
              <a:gd name="T42" fmla="*/ 1005 w 1356"/>
              <a:gd name="T43" fmla="*/ 111 h 907"/>
              <a:gd name="T44" fmla="*/ 782 w 1356"/>
              <a:gd name="T45" fmla="*/ 66 h 907"/>
              <a:gd name="T46" fmla="*/ 366 w 1356"/>
              <a:gd name="T47" fmla="*/ 515 h 907"/>
              <a:gd name="T48" fmla="*/ 338 w 1356"/>
              <a:gd name="T49" fmla="*/ 612 h 907"/>
              <a:gd name="T50" fmla="*/ 295 w 1356"/>
              <a:gd name="T51" fmla="*/ 606 h 907"/>
              <a:gd name="T52" fmla="*/ 265 w 1356"/>
              <a:gd name="T53" fmla="*/ 509 h 907"/>
              <a:gd name="T54" fmla="*/ 170 w 1356"/>
              <a:gd name="T55" fmla="*/ 478 h 907"/>
              <a:gd name="T56" fmla="*/ 143 w 1356"/>
              <a:gd name="T57" fmla="*/ 435 h 907"/>
              <a:gd name="T58" fmla="*/ 206 w 1356"/>
              <a:gd name="T59" fmla="*/ 394 h 907"/>
              <a:gd name="T60" fmla="*/ 274 w 1356"/>
              <a:gd name="T61" fmla="*/ 326 h 907"/>
              <a:gd name="T62" fmla="*/ 315 w 1356"/>
              <a:gd name="T63" fmla="*/ 263 h 907"/>
              <a:gd name="T64" fmla="*/ 358 w 1356"/>
              <a:gd name="T65" fmla="*/ 290 h 907"/>
              <a:gd name="T66" fmla="*/ 385 w 1356"/>
              <a:gd name="T67" fmla="*/ 388 h 907"/>
              <a:gd name="T68" fmla="*/ 487 w 1356"/>
              <a:gd name="T69" fmla="*/ 415 h 907"/>
              <a:gd name="T70" fmla="*/ 492 w 1356"/>
              <a:gd name="T71" fmla="*/ 458 h 907"/>
              <a:gd name="T72" fmla="*/ 908 w 1356"/>
              <a:gd name="T73" fmla="*/ 436 h 907"/>
              <a:gd name="T74" fmla="*/ 839 w 1356"/>
              <a:gd name="T75" fmla="*/ 457 h 907"/>
              <a:gd name="T76" fmla="*/ 805 w 1356"/>
              <a:gd name="T77" fmla="*/ 393 h 907"/>
              <a:gd name="T78" fmla="*/ 861 w 1356"/>
              <a:gd name="T79" fmla="*/ 348 h 907"/>
              <a:gd name="T80" fmla="*/ 917 w 1356"/>
              <a:gd name="T81" fmla="*/ 393 h 907"/>
              <a:gd name="T82" fmla="*/ 912 w 1356"/>
              <a:gd name="T83" fmla="*/ 230 h 907"/>
              <a:gd name="T84" fmla="*/ 983 w 1356"/>
              <a:gd name="T85" fmla="*/ 223 h 907"/>
              <a:gd name="T86" fmla="*/ 998 w 1356"/>
              <a:gd name="T87" fmla="*/ 302 h 907"/>
              <a:gd name="T88" fmla="*/ 930 w 1356"/>
              <a:gd name="T89" fmla="*/ 323 h 907"/>
              <a:gd name="T90" fmla="*/ 895 w 1356"/>
              <a:gd name="T91" fmla="*/ 259 h 907"/>
              <a:gd name="T92" fmla="*/ 1008 w 1356"/>
              <a:gd name="T93" fmla="*/ 541 h 907"/>
              <a:gd name="T94" fmla="*/ 939 w 1356"/>
              <a:gd name="T95" fmla="*/ 520 h 907"/>
              <a:gd name="T96" fmla="*/ 946 w 1356"/>
              <a:gd name="T97" fmla="*/ 448 h 907"/>
              <a:gd name="T98" fmla="*/ 1018 w 1356"/>
              <a:gd name="T99" fmla="*/ 442 h 907"/>
              <a:gd name="T100" fmla="*/ 1033 w 1356"/>
              <a:gd name="T101" fmla="*/ 521 h 907"/>
              <a:gd name="T102" fmla="*/ 1078 w 1356"/>
              <a:gd name="T103" fmla="*/ 412 h 907"/>
              <a:gd name="T104" fmla="*/ 1021 w 1356"/>
              <a:gd name="T105" fmla="*/ 365 h 907"/>
              <a:gd name="T106" fmla="*/ 1056 w 1356"/>
              <a:gd name="T107" fmla="*/ 302 h 907"/>
              <a:gd name="T108" fmla="*/ 1125 w 1356"/>
              <a:gd name="T109" fmla="*/ 324 h 907"/>
              <a:gd name="T110" fmla="*/ 1250 w 1356"/>
              <a:gd name="T111" fmla="*/ 471 h 907"/>
              <a:gd name="T112" fmla="*/ 1182 w 1356"/>
              <a:gd name="T113" fmla="*/ 492 h 907"/>
              <a:gd name="T114" fmla="*/ 1147 w 1356"/>
              <a:gd name="T115" fmla="*/ 428 h 907"/>
              <a:gd name="T116" fmla="*/ 1202 w 1356"/>
              <a:gd name="T117" fmla="*/ 382 h 907"/>
              <a:gd name="T118" fmla="*/ 1259 w 1356"/>
              <a:gd name="T119" fmla="*/ 428 h 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356" h="907">
                <a:moveTo>
                  <a:pt x="782" y="66"/>
                </a:moveTo>
                <a:lnTo>
                  <a:pt x="778" y="66"/>
                </a:lnTo>
                <a:lnTo>
                  <a:pt x="778" y="66"/>
                </a:lnTo>
                <a:lnTo>
                  <a:pt x="775" y="52"/>
                </a:lnTo>
                <a:lnTo>
                  <a:pt x="771" y="40"/>
                </a:lnTo>
                <a:lnTo>
                  <a:pt x="764" y="28"/>
                </a:lnTo>
                <a:lnTo>
                  <a:pt x="757" y="18"/>
                </a:lnTo>
                <a:lnTo>
                  <a:pt x="747" y="10"/>
                </a:lnTo>
                <a:lnTo>
                  <a:pt x="737" y="4"/>
                </a:lnTo>
                <a:lnTo>
                  <a:pt x="726" y="1"/>
                </a:lnTo>
                <a:lnTo>
                  <a:pt x="721" y="0"/>
                </a:lnTo>
                <a:lnTo>
                  <a:pt x="715" y="0"/>
                </a:lnTo>
                <a:lnTo>
                  <a:pt x="641" y="0"/>
                </a:lnTo>
                <a:lnTo>
                  <a:pt x="641" y="0"/>
                </a:lnTo>
                <a:lnTo>
                  <a:pt x="635" y="0"/>
                </a:lnTo>
                <a:lnTo>
                  <a:pt x="630" y="1"/>
                </a:lnTo>
                <a:lnTo>
                  <a:pt x="619" y="4"/>
                </a:lnTo>
                <a:lnTo>
                  <a:pt x="608" y="10"/>
                </a:lnTo>
                <a:lnTo>
                  <a:pt x="599" y="18"/>
                </a:lnTo>
                <a:lnTo>
                  <a:pt x="592" y="28"/>
                </a:lnTo>
                <a:lnTo>
                  <a:pt x="585" y="40"/>
                </a:lnTo>
                <a:lnTo>
                  <a:pt x="581" y="52"/>
                </a:lnTo>
                <a:lnTo>
                  <a:pt x="578" y="66"/>
                </a:lnTo>
                <a:lnTo>
                  <a:pt x="574" y="66"/>
                </a:lnTo>
                <a:lnTo>
                  <a:pt x="574" y="66"/>
                </a:lnTo>
                <a:lnTo>
                  <a:pt x="545" y="67"/>
                </a:lnTo>
                <a:lnTo>
                  <a:pt x="516" y="69"/>
                </a:lnTo>
                <a:lnTo>
                  <a:pt x="487" y="72"/>
                </a:lnTo>
                <a:lnTo>
                  <a:pt x="458" y="77"/>
                </a:lnTo>
                <a:lnTo>
                  <a:pt x="430" y="84"/>
                </a:lnTo>
                <a:lnTo>
                  <a:pt x="403" y="92"/>
                </a:lnTo>
                <a:lnTo>
                  <a:pt x="377" y="100"/>
                </a:lnTo>
                <a:lnTo>
                  <a:pt x="351" y="111"/>
                </a:lnTo>
                <a:lnTo>
                  <a:pt x="325" y="122"/>
                </a:lnTo>
                <a:lnTo>
                  <a:pt x="300" y="135"/>
                </a:lnTo>
                <a:lnTo>
                  <a:pt x="276" y="149"/>
                </a:lnTo>
                <a:lnTo>
                  <a:pt x="254" y="164"/>
                </a:lnTo>
                <a:lnTo>
                  <a:pt x="231" y="180"/>
                </a:lnTo>
                <a:lnTo>
                  <a:pt x="209" y="196"/>
                </a:lnTo>
                <a:lnTo>
                  <a:pt x="187" y="215"/>
                </a:lnTo>
                <a:lnTo>
                  <a:pt x="168" y="233"/>
                </a:lnTo>
                <a:lnTo>
                  <a:pt x="149" y="254"/>
                </a:lnTo>
                <a:lnTo>
                  <a:pt x="131" y="274"/>
                </a:lnTo>
                <a:lnTo>
                  <a:pt x="114" y="296"/>
                </a:lnTo>
                <a:lnTo>
                  <a:pt x="97" y="319"/>
                </a:lnTo>
                <a:lnTo>
                  <a:pt x="83" y="341"/>
                </a:lnTo>
                <a:lnTo>
                  <a:pt x="69" y="366"/>
                </a:lnTo>
                <a:lnTo>
                  <a:pt x="56" y="391"/>
                </a:lnTo>
                <a:lnTo>
                  <a:pt x="44" y="416"/>
                </a:lnTo>
                <a:lnTo>
                  <a:pt x="35" y="442"/>
                </a:lnTo>
                <a:lnTo>
                  <a:pt x="26" y="469"/>
                </a:lnTo>
                <a:lnTo>
                  <a:pt x="17" y="496"/>
                </a:lnTo>
                <a:lnTo>
                  <a:pt x="12" y="524"/>
                </a:lnTo>
                <a:lnTo>
                  <a:pt x="6" y="552"/>
                </a:lnTo>
                <a:lnTo>
                  <a:pt x="3" y="580"/>
                </a:lnTo>
                <a:lnTo>
                  <a:pt x="0" y="609"/>
                </a:lnTo>
                <a:lnTo>
                  <a:pt x="0" y="639"/>
                </a:lnTo>
                <a:lnTo>
                  <a:pt x="0" y="753"/>
                </a:lnTo>
                <a:lnTo>
                  <a:pt x="0" y="753"/>
                </a:lnTo>
                <a:lnTo>
                  <a:pt x="0" y="771"/>
                </a:lnTo>
                <a:lnTo>
                  <a:pt x="1" y="787"/>
                </a:lnTo>
                <a:lnTo>
                  <a:pt x="3" y="802"/>
                </a:lnTo>
                <a:lnTo>
                  <a:pt x="5" y="816"/>
                </a:lnTo>
                <a:lnTo>
                  <a:pt x="7" y="829"/>
                </a:lnTo>
                <a:lnTo>
                  <a:pt x="11" y="841"/>
                </a:lnTo>
                <a:lnTo>
                  <a:pt x="15" y="852"/>
                </a:lnTo>
                <a:lnTo>
                  <a:pt x="19" y="861"/>
                </a:lnTo>
                <a:lnTo>
                  <a:pt x="25" y="870"/>
                </a:lnTo>
                <a:lnTo>
                  <a:pt x="30" y="878"/>
                </a:lnTo>
                <a:lnTo>
                  <a:pt x="37" y="885"/>
                </a:lnTo>
                <a:lnTo>
                  <a:pt x="43" y="891"/>
                </a:lnTo>
                <a:lnTo>
                  <a:pt x="50" y="896"/>
                </a:lnTo>
                <a:lnTo>
                  <a:pt x="57" y="899"/>
                </a:lnTo>
                <a:lnTo>
                  <a:pt x="65" y="902"/>
                </a:lnTo>
                <a:lnTo>
                  <a:pt x="73" y="905"/>
                </a:lnTo>
                <a:lnTo>
                  <a:pt x="81" y="907"/>
                </a:lnTo>
                <a:lnTo>
                  <a:pt x="90" y="907"/>
                </a:lnTo>
                <a:lnTo>
                  <a:pt x="100" y="907"/>
                </a:lnTo>
                <a:lnTo>
                  <a:pt x="108" y="906"/>
                </a:lnTo>
                <a:lnTo>
                  <a:pt x="118" y="904"/>
                </a:lnTo>
                <a:lnTo>
                  <a:pt x="128" y="901"/>
                </a:lnTo>
                <a:lnTo>
                  <a:pt x="148" y="894"/>
                </a:lnTo>
                <a:lnTo>
                  <a:pt x="170" y="884"/>
                </a:lnTo>
                <a:lnTo>
                  <a:pt x="191" y="871"/>
                </a:lnTo>
                <a:lnTo>
                  <a:pt x="213" y="855"/>
                </a:lnTo>
                <a:lnTo>
                  <a:pt x="235" y="838"/>
                </a:lnTo>
                <a:lnTo>
                  <a:pt x="235" y="838"/>
                </a:lnTo>
                <a:lnTo>
                  <a:pt x="284" y="794"/>
                </a:lnTo>
                <a:lnTo>
                  <a:pt x="334" y="752"/>
                </a:lnTo>
                <a:lnTo>
                  <a:pt x="359" y="732"/>
                </a:lnTo>
                <a:lnTo>
                  <a:pt x="384" y="711"/>
                </a:lnTo>
                <a:lnTo>
                  <a:pt x="410" y="693"/>
                </a:lnTo>
                <a:lnTo>
                  <a:pt x="436" y="674"/>
                </a:lnTo>
                <a:lnTo>
                  <a:pt x="463" y="658"/>
                </a:lnTo>
                <a:lnTo>
                  <a:pt x="491" y="643"/>
                </a:lnTo>
                <a:lnTo>
                  <a:pt x="519" y="629"/>
                </a:lnTo>
                <a:lnTo>
                  <a:pt x="548" y="618"/>
                </a:lnTo>
                <a:lnTo>
                  <a:pt x="579" y="608"/>
                </a:lnTo>
                <a:lnTo>
                  <a:pt x="595" y="605"/>
                </a:lnTo>
                <a:lnTo>
                  <a:pt x="611" y="602"/>
                </a:lnTo>
                <a:lnTo>
                  <a:pt x="628" y="600"/>
                </a:lnTo>
                <a:lnTo>
                  <a:pt x="644" y="598"/>
                </a:lnTo>
                <a:lnTo>
                  <a:pt x="661" y="596"/>
                </a:lnTo>
                <a:lnTo>
                  <a:pt x="678" y="596"/>
                </a:lnTo>
                <a:lnTo>
                  <a:pt x="678" y="596"/>
                </a:lnTo>
                <a:lnTo>
                  <a:pt x="695" y="596"/>
                </a:lnTo>
                <a:lnTo>
                  <a:pt x="712" y="598"/>
                </a:lnTo>
                <a:lnTo>
                  <a:pt x="728" y="600"/>
                </a:lnTo>
                <a:lnTo>
                  <a:pt x="745" y="602"/>
                </a:lnTo>
                <a:lnTo>
                  <a:pt x="761" y="605"/>
                </a:lnTo>
                <a:lnTo>
                  <a:pt x="776" y="608"/>
                </a:lnTo>
                <a:lnTo>
                  <a:pt x="808" y="618"/>
                </a:lnTo>
                <a:lnTo>
                  <a:pt x="837" y="629"/>
                </a:lnTo>
                <a:lnTo>
                  <a:pt x="865" y="643"/>
                </a:lnTo>
                <a:lnTo>
                  <a:pt x="893" y="658"/>
                </a:lnTo>
                <a:lnTo>
                  <a:pt x="919" y="674"/>
                </a:lnTo>
                <a:lnTo>
                  <a:pt x="946" y="693"/>
                </a:lnTo>
                <a:lnTo>
                  <a:pt x="972" y="711"/>
                </a:lnTo>
                <a:lnTo>
                  <a:pt x="997" y="732"/>
                </a:lnTo>
                <a:lnTo>
                  <a:pt x="1022" y="752"/>
                </a:lnTo>
                <a:lnTo>
                  <a:pt x="1071" y="794"/>
                </a:lnTo>
                <a:lnTo>
                  <a:pt x="1121" y="838"/>
                </a:lnTo>
                <a:lnTo>
                  <a:pt x="1121" y="838"/>
                </a:lnTo>
                <a:lnTo>
                  <a:pt x="1143" y="855"/>
                </a:lnTo>
                <a:lnTo>
                  <a:pt x="1164" y="871"/>
                </a:lnTo>
                <a:lnTo>
                  <a:pt x="1186" y="884"/>
                </a:lnTo>
                <a:lnTo>
                  <a:pt x="1208" y="894"/>
                </a:lnTo>
                <a:lnTo>
                  <a:pt x="1228" y="901"/>
                </a:lnTo>
                <a:lnTo>
                  <a:pt x="1238" y="904"/>
                </a:lnTo>
                <a:lnTo>
                  <a:pt x="1248" y="906"/>
                </a:lnTo>
                <a:lnTo>
                  <a:pt x="1256" y="907"/>
                </a:lnTo>
                <a:lnTo>
                  <a:pt x="1266" y="907"/>
                </a:lnTo>
                <a:lnTo>
                  <a:pt x="1275" y="907"/>
                </a:lnTo>
                <a:lnTo>
                  <a:pt x="1283" y="905"/>
                </a:lnTo>
                <a:lnTo>
                  <a:pt x="1291" y="902"/>
                </a:lnTo>
                <a:lnTo>
                  <a:pt x="1299" y="899"/>
                </a:lnTo>
                <a:lnTo>
                  <a:pt x="1306" y="896"/>
                </a:lnTo>
                <a:lnTo>
                  <a:pt x="1313" y="891"/>
                </a:lnTo>
                <a:lnTo>
                  <a:pt x="1319" y="885"/>
                </a:lnTo>
                <a:lnTo>
                  <a:pt x="1326" y="878"/>
                </a:lnTo>
                <a:lnTo>
                  <a:pt x="1331" y="870"/>
                </a:lnTo>
                <a:lnTo>
                  <a:pt x="1337" y="861"/>
                </a:lnTo>
                <a:lnTo>
                  <a:pt x="1341" y="852"/>
                </a:lnTo>
                <a:lnTo>
                  <a:pt x="1344" y="841"/>
                </a:lnTo>
                <a:lnTo>
                  <a:pt x="1349" y="829"/>
                </a:lnTo>
                <a:lnTo>
                  <a:pt x="1351" y="816"/>
                </a:lnTo>
                <a:lnTo>
                  <a:pt x="1353" y="802"/>
                </a:lnTo>
                <a:lnTo>
                  <a:pt x="1355" y="787"/>
                </a:lnTo>
                <a:lnTo>
                  <a:pt x="1356" y="771"/>
                </a:lnTo>
                <a:lnTo>
                  <a:pt x="1356" y="753"/>
                </a:lnTo>
                <a:lnTo>
                  <a:pt x="1356" y="639"/>
                </a:lnTo>
                <a:lnTo>
                  <a:pt x="1356" y="639"/>
                </a:lnTo>
                <a:lnTo>
                  <a:pt x="1355" y="609"/>
                </a:lnTo>
                <a:lnTo>
                  <a:pt x="1353" y="580"/>
                </a:lnTo>
                <a:lnTo>
                  <a:pt x="1350" y="552"/>
                </a:lnTo>
                <a:lnTo>
                  <a:pt x="1344" y="524"/>
                </a:lnTo>
                <a:lnTo>
                  <a:pt x="1338" y="496"/>
                </a:lnTo>
                <a:lnTo>
                  <a:pt x="1330" y="469"/>
                </a:lnTo>
                <a:lnTo>
                  <a:pt x="1322" y="442"/>
                </a:lnTo>
                <a:lnTo>
                  <a:pt x="1311" y="416"/>
                </a:lnTo>
                <a:lnTo>
                  <a:pt x="1300" y="391"/>
                </a:lnTo>
                <a:lnTo>
                  <a:pt x="1287" y="366"/>
                </a:lnTo>
                <a:lnTo>
                  <a:pt x="1273" y="341"/>
                </a:lnTo>
                <a:lnTo>
                  <a:pt x="1259" y="319"/>
                </a:lnTo>
                <a:lnTo>
                  <a:pt x="1242" y="296"/>
                </a:lnTo>
                <a:lnTo>
                  <a:pt x="1225" y="274"/>
                </a:lnTo>
                <a:lnTo>
                  <a:pt x="1207" y="254"/>
                </a:lnTo>
                <a:lnTo>
                  <a:pt x="1188" y="233"/>
                </a:lnTo>
                <a:lnTo>
                  <a:pt x="1168" y="215"/>
                </a:lnTo>
                <a:lnTo>
                  <a:pt x="1147" y="196"/>
                </a:lnTo>
                <a:lnTo>
                  <a:pt x="1125" y="180"/>
                </a:lnTo>
                <a:lnTo>
                  <a:pt x="1103" y="164"/>
                </a:lnTo>
                <a:lnTo>
                  <a:pt x="1080" y="149"/>
                </a:lnTo>
                <a:lnTo>
                  <a:pt x="1056" y="135"/>
                </a:lnTo>
                <a:lnTo>
                  <a:pt x="1031" y="122"/>
                </a:lnTo>
                <a:lnTo>
                  <a:pt x="1005" y="111"/>
                </a:lnTo>
                <a:lnTo>
                  <a:pt x="979" y="100"/>
                </a:lnTo>
                <a:lnTo>
                  <a:pt x="953" y="92"/>
                </a:lnTo>
                <a:lnTo>
                  <a:pt x="925" y="84"/>
                </a:lnTo>
                <a:lnTo>
                  <a:pt x="898" y="77"/>
                </a:lnTo>
                <a:lnTo>
                  <a:pt x="869" y="72"/>
                </a:lnTo>
                <a:lnTo>
                  <a:pt x="840" y="69"/>
                </a:lnTo>
                <a:lnTo>
                  <a:pt x="811" y="67"/>
                </a:lnTo>
                <a:lnTo>
                  <a:pt x="782" y="66"/>
                </a:lnTo>
                <a:lnTo>
                  <a:pt x="782" y="66"/>
                </a:lnTo>
                <a:close/>
                <a:moveTo>
                  <a:pt x="434" y="486"/>
                </a:moveTo>
                <a:lnTo>
                  <a:pt x="393" y="486"/>
                </a:lnTo>
                <a:lnTo>
                  <a:pt x="393" y="486"/>
                </a:lnTo>
                <a:lnTo>
                  <a:pt x="388" y="495"/>
                </a:lnTo>
                <a:lnTo>
                  <a:pt x="382" y="502"/>
                </a:lnTo>
                <a:lnTo>
                  <a:pt x="374" y="509"/>
                </a:lnTo>
                <a:lnTo>
                  <a:pt x="366" y="515"/>
                </a:lnTo>
                <a:lnTo>
                  <a:pt x="366" y="553"/>
                </a:lnTo>
                <a:lnTo>
                  <a:pt x="366" y="553"/>
                </a:lnTo>
                <a:lnTo>
                  <a:pt x="365" y="566"/>
                </a:lnTo>
                <a:lnTo>
                  <a:pt x="362" y="578"/>
                </a:lnTo>
                <a:lnTo>
                  <a:pt x="358" y="589"/>
                </a:lnTo>
                <a:lnTo>
                  <a:pt x="352" y="599"/>
                </a:lnTo>
                <a:lnTo>
                  <a:pt x="346" y="606"/>
                </a:lnTo>
                <a:lnTo>
                  <a:pt x="338" y="612"/>
                </a:lnTo>
                <a:lnTo>
                  <a:pt x="329" y="616"/>
                </a:lnTo>
                <a:lnTo>
                  <a:pt x="325" y="617"/>
                </a:lnTo>
                <a:lnTo>
                  <a:pt x="320" y="617"/>
                </a:lnTo>
                <a:lnTo>
                  <a:pt x="320" y="617"/>
                </a:lnTo>
                <a:lnTo>
                  <a:pt x="315" y="617"/>
                </a:lnTo>
                <a:lnTo>
                  <a:pt x="311" y="616"/>
                </a:lnTo>
                <a:lnTo>
                  <a:pt x="302" y="612"/>
                </a:lnTo>
                <a:lnTo>
                  <a:pt x="295" y="606"/>
                </a:lnTo>
                <a:lnTo>
                  <a:pt x="287" y="599"/>
                </a:lnTo>
                <a:lnTo>
                  <a:pt x="282" y="589"/>
                </a:lnTo>
                <a:lnTo>
                  <a:pt x="277" y="578"/>
                </a:lnTo>
                <a:lnTo>
                  <a:pt x="275" y="566"/>
                </a:lnTo>
                <a:lnTo>
                  <a:pt x="274" y="553"/>
                </a:lnTo>
                <a:lnTo>
                  <a:pt x="274" y="515"/>
                </a:lnTo>
                <a:lnTo>
                  <a:pt x="274" y="515"/>
                </a:lnTo>
                <a:lnTo>
                  <a:pt x="265" y="509"/>
                </a:lnTo>
                <a:lnTo>
                  <a:pt x="258" y="502"/>
                </a:lnTo>
                <a:lnTo>
                  <a:pt x="251" y="495"/>
                </a:lnTo>
                <a:lnTo>
                  <a:pt x="246" y="486"/>
                </a:lnTo>
                <a:lnTo>
                  <a:pt x="206" y="486"/>
                </a:lnTo>
                <a:lnTo>
                  <a:pt x="206" y="486"/>
                </a:lnTo>
                <a:lnTo>
                  <a:pt x="193" y="485"/>
                </a:lnTo>
                <a:lnTo>
                  <a:pt x="181" y="482"/>
                </a:lnTo>
                <a:lnTo>
                  <a:pt x="170" y="478"/>
                </a:lnTo>
                <a:lnTo>
                  <a:pt x="161" y="472"/>
                </a:lnTo>
                <a:lnTo>
                  <a:pt x="153" y="466"/>
                </a:lnTo>
                <a:lnTo>
                  <a:pt x="147" y="458"/>
                </a:lnTo>
                <a:lnTo>
                  <a:pt x="144" y="449"/>
                </a:lnTo>
                <a:lnTo>
                  <a:pt x="143" y="445"/>
                </a:lnTo>
                <a:lnTo>
                  <a:pt x="142" y="440"/>
                </a:lnTo>
                <a:lnTo>
                  <a:pt x="142" y="440"/>
                </a:lnTo>
                <a:lnTo>
                  <a:pt x="143" y="435"/>
                </a:lnTo>
                <a:lnTo>
                  <a:pt x="144" y="431"/>
                </a:lnTo>
                <a:lnTo>
                  <a:pt x="147" y="422"/>
                </a:lnTo>
                <a:lnTo>
                  <a:pt x="153" y="415"/>
                </a:lnTo>
                <a:lnTo>
                  <a:pt x="161" y="407"/>
                </a:lnTo>
                <a:lnTo>
                  <a:pt x="170" y="402"/>
                </a:lnTo>
                <a:lnTo>
                  <a:pt x="181" y="398"/>
                </a:lnTo>
                <a:lnTo>
                  <a:pt x="193" y="395"/>
                </a:lnTo>
                <a:lnTo>
                  <a:pt x="206" y="394"/>
                </a:lnTo>
                <a:lnTo>
                  <a:pt x="250" y="394"/>
                </a:lnTo>
                <a:lnTo>
                  <a:pt x="250" y="394"/>
                </a:lnTo>
                <a:lnTo>
                  <a:pt x="256" y="388"/>
                </a:lnTo>
                <a:lnTo>
                  <a:pt x="261" y="382"/>
                </a:lnTo>
                <a:lnTo>
                  <a:pt x="268" y="377"/>
                </a:lnTo>
                <a:lnTo>
                  <a:pt x="274" y="372"/>
                </a:lnTo>
                <a:lnTo>
                  <a:pt x="274" y="326"/>
                </a:lnTo>
                <a:lnTo>
                  <a:pt x="274" y="326"/>
                </a:lnTo>
                <a:lnTo>
                  <a:pt x="275" y="313"/>
                </a:lnTo>
                <a:lnTo>
                  <a:pt x="277" y="301"/>
                </a:lnTo>
                <a:lnTo>
                  <a:pt x="282" y="290"/>
                </a:lnTo>
                <a:lnTo>
                  <a:pt x="287" y="282"/>
                </a:lnTo>
                <a:lnTo>
                  <a:pt x="295" y="274"/>
                </a:lnTo>
                <a:lnTo>
                  <a:pt x="302" y="268"/>
                </a:lnTo>
                <a:lnTo>
                  <a:pt x="311" y="265"/>
                </a:lnTo>
                <a:lnTo>
                  <a:pt x="315" y="263"/>
                </a:lnTo>
                <a:lnTo>
                  <a:pt x="320" y="262"/>
                </a:lnTo>
                <a:lnTo>
                  <a:pt x="320" y="262"/>
                </a:lnTo>
                <a:lnTo>
                  <a:pt x="325" y="263"/>
                </a:lnTo>
                <a:lnTo>
                  <a:pt x="329" y="265"/>
                </a:lnTo>
                <a:lnTo>
                  <a:pt x="338" y="268"/>
                </a:lnTo>
                <a:lnTo>
                  <a:pt x="346" y="274"/>
                </a:lnTo>
                <a:lnTo>
                  <a:pt x="352" y="282"/>
                </a:lnTo>
                <a:lnTo>
                  <a:pt x="358" y="290"/>
                </a:lnTo>
                <a:lnTo>
                  <a:pt x="362" y="301"/>
                </a:lnTo>
                <a:lnTo>
                  <a:pt x="365" y="313"/>
                </a:lnTo>
                <a:lnTo>
                  <a:pt x="366" y="326"/>
                </a:lnTo>
                <a:lnTo>
                  <a:pt x="366" y="372"/>
                </a:lnTo>
                <a:lnTo>
                  <a:pt x="366" y="372"/>
                </a:lnTo>
                <a:lnTo>
                  <a:pt x="373" y="377"/>
                </a:lnTo>
                <a:lnTo>
                  <a:pt x="378" y="382"/>
                </a:lnTo>
                <a:lnTo>
                  <a:pt x="385" y="388"/>
                </a:lnTo>
                <a:lnTo>
                  <a:pt x="389" y="394"/>
                </a:lnTo>
                <a:lnTo>
                  <a:pt x="434" y="394"/>
                </a:lnTo>
                <a:lnTo>
                  <a:pt x="434" y="394"/>
                </a:lnTo>
                <a:lnTo>
                  <a:pt x="447" y="395"/>
                </a:lnTo>
                <a:lnTo>
                  <a:pt x="458" y="398"/>
                </a:lnTo>
                <a:lnTo>
                  <a:pt x="469" y="402"/>
                </a:lnTo>
                <a:lnTo>
                  <a:pt x="479" y="407"/>
                </a:lnTo>
                <a:lnTo>
                  <a:pt x="487" y="415"/>
                </a:lnTo>
                <a:lnTo>
                  <a:pt x="492" y="422"/>
                </a:lnTo>
                <a:lnTo>
                  <a:pt x="496" y="431"/>
                </a:lnTo>
                <a:lnTo>
                  <a:pt x="498" y="435"/>
                </a:lnTo>
                <a:lnTo>
                  <a:pt x="498" y="440"/>
                </a:lnTo>
                <a:lnTo>
                  <a:pt x="498" y="440"/>
                </a:lnTo>
                <a:lnTo>
                  <a:pt x="498" y="445"/>
                </a:lnTo>
                <a:lnTo>
                  <a:pt x="496" y="449"/>
                </a:lnTo>
                <a:lnTo>
                  <a:pt x="492" y="458"/>
                </a:lnTo>
                <a:lnTo>
                  <a:pt x="487" y="466"/>
                </a:lnTo>
                <a:lnTo>
                  <a:pt x="479" y="472"/>
                </a:lnTo>
                <a:lnTo>
                  <a:pt x="469" y="478"/>
                </a:lnTo>
                <a:lnTo>
                  <a:pt x="458" y="482"/>
                </a:lnTo>
                <a:lnTo>
                  <a:pt x="447" y="485"/>
                </a:lnTo>
                <a:lnTo>
                  <a:pt x="434" y="486"/>
                </a:lnTo>
                <a:lnTo>
                  <a:pt x="434" y="486"/>
                </a:lnTo>
                <a:close/>
                <a:moveTo>
                  <a:pt x="908" y="436"/>
                </a:moveTo>
                <a:lnTo>
                  <a:pt x="908" y="436"/>
                </a:lnTo>
                <a:lnTo>
                  <a:pt x="901" y="445"/>
                </a:lnTo>
                <a:lnTo>
                  <a:pt x="892" y="452"/>
                </a:lnTo>
                <a:lnTo>
                  <a:pt x="882" y="457"/>
                </a:lnTo>
                <a:lnTo>
                  <a:pt x="872" y="460"/>
                </a:lnTo>
                <a:lnTo>
                  <a:pt x="861" y="461"/>
                </a:lnTo>
                <a:lnTo>
                  <a:pt x="850" y="460"/>
                </a:lnTo>
                <a:lnTo>
                  <a:pt x="839" y="457"/>
                </a:lnTo>
                <a:lnTo>
                  <a:pt x="829" y="452"/>
                </a:lnTo>
                <a:lnTo>
                  <a:pt x="829" y="452"/>
                </a:lnTo>
                <a:lnTo>
                  <a:pt x="821" y="444"/>
                </a:lnTo>
                <a:lnTo>
                  <a:pt x="813" y="435"/>
                </a:lnTo>
                <a:lnTo>
                  <a:pt x="809" y="426"/>
                </a:lnTo>
                <a:lnTo>
                  <a:pt x="805" y="416"/>
                </a:lnTo>
                <a:lnTo>
                  <a:pt x="804" y="405"/>
                </a:lnTo>
                <a:lnTo>
                  <a:pt x="805" y="393"/>
                </a:lnTo>
                <a:lnTo>
                  <a:pt x="809" y="383"/>
                </a:lnTo>
                <a:lnTo>
                  <a:pt x="814" y="373"/>
                </a:lnTo>
                <a:lnTo>
                  <a:pt x="814" y="373"/>
                </a:lnTo>
                <a:lnTo>
                  <a:pt x="822" y="364"/>
                </a:lnTo>
                <a:lnTo>
                  <a:pt x="830" y="358"/>
                </a:lnTo>
                <a:lnTo>
                  <a:pt x="840" y="352"/>
                </a:lnTo>
                <a:lnTo>
                  <a:pt x="850" y="349"/>
                </a:lnTo>
                <a:lnTo>
                  <a:pt x="861" y="348"/>
                </a:lnTo>
                <a:lnTo>
                  <a:pt x="872" y="349"/>
                </a:lnTo>
                <a:lnTo>
                  <a:pt x="882" y="352"/>
                </a:lnTo>
                <a:lnTo>
                  <a:pt x="892" y="358"/>
                </a:lnTo>
                <a:lnTo>
                  <a:pt x="892" y="358"/>
                </a:lnTo>
                <a:lnTo>
                  <a:pt x="902" y="365"/>
                </a:lnTo>
                <a:lnTo>
                  <a:pt x="908" y="374"/>
                </a:lnTo>
                <a:lnTo>
                  <a:pt x="914" y="383"/>
                </a:lnTo>
                <a:lnTo>
                  <a:pt x="917" y="393"/>
                </a:lnTo>
                <a:lnTo>
                  <a:pt x="918" y="405"/>
                </a:lnTo>
                <a:lnTo>
                  <a:pt x="917" y="416"/>
                </a:lnTo>
                <a:lnTo>
                  <a:pt x="914" y="426"/>
                </a:lnTo>
                <a:lnTo>
                  <a:pt x="908" y="436"/>
                </a:lnTo>
                <a:lnTo>
                  <a:pt x="908" y="436"/>
                </a:lnTo>
                <a:close/>
                <a:moveTo>
                  <a:pt x="904" y="239"/>
                </a:moveTo>
                <a:lnTo>
                  <a:pt x="904" y="239"/>
                </a:lnTo>
                <a:lnTo>
                  <a:pt x="912" y="230"/>
                </a:lnTo>
                <a:lnTo>
                  <a:pt x="920" y="222"/>
                </a:lnTo>
                <a:lnTo>
                  <a:pt x="930" y="218"/>
                </a:lnTo>
                <a:lnTo>
                  <a:pt x="941" y="215"/>
                </a:lnTo>
                <a:lnTo>
                  <a:pt x="952" y="214"/>
                </a:lnTo>
                <a:lnTo>
                  <a:pt x="963" y="215"/>
                </a:lnTo>
                <a:lnTo>
                  <a:pt x="973" y="218"/>
                </a:lnTo>
                <a:lnTo>
                  <a:pt x="983" y="223"/>
                </a:lnTo>
                <a:lnTo>
                  <a:pt x="983" y="223"/>
                </a:lnTo>
                <a:lnTo>
                  <a:pt x="992" y="231"/>
                </a:lnTo>
                <a:lnTo>
                  <a:pt x="1000" y="240"/>
                </a:lnTo>
                <a:lnTo>
                  <a:pt x="1004" y="249"/>
                </a:lnTo>
                <a:lnTo>
                  <a:pt x="1007" y="259"/>
                </a:lnTo>
                <a:lnTo>
                  <a:pt x="1008" y="270"/>
                </a:lnTo>
                <a:lnTo>
                  <a:pt x="1007" y="281"/>
                </a:lnTo>
                <a:lnTo>
                  <a:pt x="1004" y="292"/>
                </a:lnTo>
                <a:lnTo>
                  <a:pt x="998" y="302"/>
                </a:lnTo>
                <a:lnTo>
                  <a:pt x="998" y="302"/>
                </a:lnTo>
                <a:lnTo>
                  <a:pt x="991" y="311"/>
                </a:lnTo>
                <a:lnTo>
                  <a:pt x="982" y="318"/>
                </a:lnTo>
                <a:lnTo>
                  <a:pt x="972" y="323"/>
                </a:lnTo>
                <a:lnTo>
                  <a:pt x="963" y="326"/>
                </a:lnTo>
                <a:lnTo>
                  <a:pt x="952" y="327"/>
                </a:lnTo>
                <a:lnTo>
                  <a:pt x="941" y="326"/>
                </a:lnTo>
                <a:lnTo>
                  <a:pt x="930" y="323"/>
                </a:lnTo>
                <a:lnTo>
                  <a:pt x="920" y="318"/>
                </a:lnTo>
                <a:lnTo>
                  <a:pt x="920" y="318"/>
                </a:lnTo>
                <a:lnTo>
                  <a:pt x="911" y="310"/>
                </a:lnTo>
                <a:lnTo>
                  <a:pt x="904" y="301"/>
                </a:lnTo>
                <a:lnTo>
                  <a:pt x="899" y="292"/>
                </a:lnTo>
                <a:lnTo>
                  <a:pt x="895" y="281"/>
                </a:lnTo>
                <a:lnTo>
                  <a:pt x="894" y="270"/>
                </a:lnTo>
                <a:lnTo>
                  <a:pt x="895" y="259"/>
                </a:lnTo>
                <a:lnTo>
                  <a:pt x="899" y="248"/>
                </a:lnTo>
                <a:lnTo>
                  <a:pt x="904" y="239"/>
                </a:lnTo>
                <a:lnTo>
                  <a:pt x="904" y="239"/>
                </a:lnTo>
                <a:close/>
                <a:moveTo>
                  <a:pt x="1033" y="521"/>
                </a:moveTo>
                <a:lnTo>
                  <a:pt x="1033" y="521"/>
                </a:lnTo>
                <a:lnTo>
                  <a:pt x="1027" y="529"/>
                </a:lnTo>
                <a:lnTo>
                  <a:pt x="1018" y="536"/>
                </a:lnTo>
                <a:lnTo>
                  <a:pt x="1008" y="541"/>
                </a:lnTo>
                <a:lnTo>
                  <a:pt x="997" y="545"/>
                </a:lnTo>
                <a:lnTo>
                  <a:pt x="987" y="546"/>
                </a:lnTo>
                <a:lnTo>
                  <a:pt x="976" y="545"/>
                </a:lnTo>
                <a:lnTo>
                  <a:pt x="965" y="541"/>
                </a:lnTo>
                <a:lnTo>
                  <a:pt x="955" y="536"/>
                </a:lnTo>
                <a:lnTo>
                  <a:pt x="955" y="536"/>
                </a:lnTo>
                <a:lnTo>
                  <a:pt x="946" y="528"/>
                </a:lnTo>
                <a:lnTo>
                  <a:pt x="939" y="520"/>
                </a:lnTo>
                <a:lnTo>
                  <a:pt x="933" y="510"/>
                </a:lnTo>
                <a:lnTo>
                  <a:pt x="931" y="500"/>
                </a:lnTo>
                <a:lnTo>
                  <a:pt x="930" y="489"/>
                </a:lnTo>
                <a:lnTo>
                  <a:pt x="931" y="479"/>
                </a:lnTo>
                <a:lnTo>
                  <a:pt x="934" y="468"/>
                </a:lnTo>
                <a:lnTo>
                  <a:pt x="940" y="457"/>
                </a:lnTo>
                <a:lnTo>
                  <a:pt x="940" y="457"/>
                </a:lnTo>
                <a:lnTo>
                  <a:pt x="946" y="448"/>
                </a:lnTo>
                <a:lnTo>
                  <a:pt x="955" y="442"/>
                </a:lnTo>
                <a:lnTo>
                  <a:pt x="965" y="436"/>
                </a:lnTo>
                <a:lnTo>
                  <a:pt x="976" y="433"/>
                </a:lnTo>
                <a:lnTo>
                  <a:pt x="987" y="432"/>
                </a:lnTo>
                <a:lnTo>
                  <a:pt x="997" y="433"/>
                </a:lnTo>
                <a:lnTo>
                  <a:pt x="1008" y="436"/>
                </a:lnTo>
                <a:lnTo>
                  <a:pt x="1018" y="442"/>
                </a:lnTo>
                <a:lnTo>
                  <a:pt x="1018" y="442"/>
                </a:lnTo>
                <a:lnTo>
                  <a:pt x="1027" y="449"/>
                </a:lnTo>
                <a:lnTo>
                  <a:pt x="1034" y="458"/>
                </a:lnTo>
                <a:lnTo>
                  <a:pt x="1040" y="468"/>
                </a:lnTo>
                <a:lnTo>
                  <a:pt x="1042" y="479"/>
                </a:lnTo>
                <a:lnTo>
                  <a:pt x="1043" y="489"/>
                </a:lnTo>
                <a:lnTo>
                  <a:pt x="1042" y="500"/>
                </a:lnTo>
                <a:lnTo>
                  <a:pt x="1039" y="510"/>
                </a:lnTo>
                <a:lnTo>
                  <a:pt x="1033" y="521"/>
                </a:lnTo>
                <a:lnTo>
                  <a:pt x="1033" y="521"/>
                </a:lnTo>
                <a:close/>
                <a:moveTo>
                  <a:pt x="1124" y="387"/>
                </a:moveTo>
                <a:lnTo>
                  <a:pt x="1124" y="387"/>
                </a:lnTo>
                <a:lnTo>
                  <a:pt x="1117" y="395"/>
                </a:lnTo>
                <a:lnTo>
                  <a:pt x="1108" y="402"/>
                </a:lnTo>
                <a:lnTo>
                  <a:pt x="1098" y="407"/>
                </a:lnTo>
                <a:lnTo>
                  <a:pt x="1088" y="410"/>
                </a:lnTo>
                <a:lnTo>
                  <a:pt x="1078" y="412"/>
                </a:lnTo>
                <a:lnTo>
                  <a:pt x="1067" y="410"/>
                </a:lnTo>
                <a:lnTo>
                  <a:pt x="1056" y="407"/>
                </a:lnTo>
                <a:lnTo>
                  <a:pt x="1045" y="402"/>
                </a:lnTo>
                <a:lnTo>
                  <a:pt x="1045" y="402"/>
                </a:lnTo>
                <a:lnTo>
                  <a:pt x="1036" y="394"/>
                </a:lnTo>
                <a:lnTo>
                  <a:pt x="1030" y="386"/>
                </a:lnTo>
                <a:lnTo>
                  <a:pt x="1024" y="376"/>
                </a:lnTo>
                <a:lnTo>
                  <a:pt x="1021" y="365"/>
                </a:lnTo>
                <a:lnTo>
                  <a:pt x="1020" y="354"/>
                </a:lnTo>
                <a:lnTo>
                  <a:pt x="1021" y="343"/>
                </a:lnTo>
                <a:lnTo>
                  <a:pt x="1024" y="334"/>
                </a:lnTo>
                <a:lnTo>
                  <a:pt x="1030" y="323"/>
                </a:lnTo>
                <a:lnTo>
                  <a:pt x="1030" y="323"/>
                </a:lnTo>
                <a:lnTo>
                  <a:pt x="1037" y="314"/>
                </a:lnTo>
                <a:lnTo>
                  <a:pt x="1046" y="308"/>
                </a:lnTo>
                <a:lnTo>
                  <a:pt x="1056" y="302"/>
                </a:lnTo>
                <a:lnTo>
                  <a:pt x="1067" y="299"/>
                </a:lnTo>
                <a:lnTo>
                  <a:pt x="1078" y="298"/>
                </a:lnTo>
                <a:lnTo>
                  <a:pt x="1088" y="299"/>
                </a:lnTo>
                <a:lnTo>
                  <a:pt x="1099" y="302"/>
                </a:lnTo>
                <a:lnTo>
                  <a:pt x="1109" y="308"/>
                </a:lnTo>
                <a:lnTo>
                  <a:pt x="1109" y="308"/>
                </a:lnTo>
                <a:lnTo>
                  <a:pt x="1118" y="315"/>
                </a:lnTo>
                <a:lnTo>
                  <a:pt x="1125" y="324"/>
                </a:lnTo>
                <a:lnTo>
                  <a:pt x="1130" y="334"/>
                </a:lnTo>
                <a:lnTo>
                  <a:pt x="1133" y="343"/>
                </a:lnTo>
                <a:lnTo>
                  <a:pt x="1134" y="354"/>
                </a:lnTo>
                <a:lnTo>
                  <a:pt x="1133" y="366"/>
                </a:lnTo>
                <a:lnTo>
                  <a:pt x="1130" y="376"/>
                </a:lnTo>
                <a:lnTo>
                  <a:pt x="1124" y="387"/>
                </a:lnTo>
                <a:lnTo>
                  <a:pt x="1124" y="387"/>
                </a:lnTo>
                <a:close/>
                <a:moveTo>
                  <a:pt x="1250" y="471"/>
                </a:moveTo>
                <a:lnTo>
                  <a:pt x="1250" y="471"/>
                </a:lnTo>
                <a:lnTo>
                  <a:pt x="1242" y="480"/>
                </a:lnTo>
                <a:lnTo>
                  <a:pt x="1234" y="486"/>
                </a:lnTo>
                <a:lnTo>
                  <a:pt x="1224" y="492"/>
                </a:lnTo>
                <a:lnTo>
                  <a:pt x="1214" y="495"/>
                </a:lnTo>
                <a:lnTo>
                  <a:pt x="1203" y="496"/>
                </a:lnTo>
                <a:lnTo>
                  <a:pt x="1191" y="495"/>
                </a:lnTo>
                <a:lnTo>
                  <a:pt x="1182" y="492"/>
                </a:lnTo>
                <a:lnTo>
                  <a:pt x="1171" y="486"/>
                </a:lnTo>
                <a:lnTo>
                  <a:pt x="1171" y="486"/>
                </a:lnTo>
                <a:lnTo>
                  <a:pt x="1162" y="479"/>
                </a:lnTo>
                <a:lnTo>
                  <a:pt x="1156" y="470"/>
                </a:lnTo>
                <a:lnTo>
                  <a:pt x="1150" y="460"/>
                </a:lnTo>
                <a:lnTo>
                  <a:pt x="1147" y="451"/>
                </a:lnTo>
                <a:lnTo>
                  <a:pt x="1146" y="440"/>
                </a:lnTo>
                <a:lnTo>
                  <a:pt x="1147" y="428"/>
                </a:lnTo>
                <a:lnTo>
                  <a:pt x="1150" y="418"/>
                </a:lnTo>
                <a:lnTo>
                  <a:pt x="1156" y="407"/>
                </a:lnTo>
                <a:lnTo>
                  <a:pt x="1156" y="407"/>
                </a:lnTo>
                <a:lnTo>
                  <a:pt x="1163" y="399"/>
                </a:lnTo>
                <a:lnTo>
                  <a:pt x="1172" y="392"/>
                </a:lnTo>
                <a:lnTo>
                  <a:pt x="1182" y="387"/>
                </a:lnTo>
                <a:lnTo>
                  <a:pt x="1191" y="383"/>
                </a:lnTo>
                <a:lnTo>
                  <a:pt x="1202" y="382"/>
                </a:lnTo>
                <a:lnTo>
                  <a:pt x="1214" y="383"/>
                </a:lnTo>
                <a:lnTo>
                  <a:pt x="1224" y="387"/>
                </a:lnTo>
                <a:lnTo>
                  <a:pt x="1235" y="392"/>
                </a:lnTo>
                <a:lnTo>
                  <a:pt x="1235" y="392"/>
                </a:lnTo>
                <a:lnTo>
                  <a:pt x="1243" y="400"/>
                </a:lnTo>
                <a:lnTo>
                  <a:pt x="1250" y="408"/>
                </a:lnTo>
                <a:lnTo>
                  <a:pt x="1255" y="418"/>
                </a:lnTo>
                <a:lnTo>
                  <a:pt x="1259" y="428"/>
                </a:lnTo>
                <a:lnTo>
                  <a:pt x="1260" y="439"/>
                </a:lnTo>
                <a:lnTo>
                  <a:pt x="1259" y="451"/>
                </a:lnTo>
                <a:lnTo>
                  <a:pt x="1255" y="460"/>
                </a:lnTo>
                <a:lnTo>
                  <a:pt x="1250" y="471"/>
                </a:lnTo>
                <a:lnTo>
                  <a:pt x="1250" y="47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4937377" y="963128"/>
            <a:ext cx="3851189" cy="5924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300"/>
              </a:spcAft>
            </a:pP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=</a:t>
            </a:r>
            <a:r>
              <a:rPr lang="en-US" sz="1200" b="1" dirty="0">
                <a:solidFill>
                  <a:srgbClr val="0070C0"/>
                </a:solidFill>
                <a:latin typeface="Georgia" panose="02040502050405020303" pitchFamily="18" charset="0"/>
              </a:rPr>
              <a:t>IF</a:t>
            </a: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(</a:t>
            </a:r>
            <a:r>
              <a:rPr lang="en-US" sz="1200" dirty="0">
                <a:solidFill>
                  <a:schemeClr val="tx1"/>
                </a:solidFill>
                <a:latin typeface="Georgia" panose="02040502050405020303" pitchFamily="18" charset="0"/>
              </a:rPr>
              <a:t>AND</a:t>
            </a: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(</a:t>
            </a:r>
            <a:r>
              <a:rPr lang="en-US" sz="1200" dirty="0">
                <a:solidFill>
                  <a:schemeClr val="bg2"/>
                </a:solidFill>
                <a:latin typeface="Georgia" panose="02040502050405020303" pitchFamily="18" charset="0"/>
              </a:rPr>
              <a:t>logical 1, logical 2</a:t>
            </a: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),</a:t>
            </a:r>
            <a:r>
              <a:rPr lang="en-US" sz="1200" dirty="0">
                <a:solidFill>
                  <a:schemeClr val="tx1"/>
                </a:solidFill>
                <a:latin typeface="Georgia" panose="02040502050405020303" pitchFamily="18" charset="0"/>
              </a:rPr>
              <a:t>Value if true, Value if false</a:t>
            </a: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)</a:t>
            </a:r>
          </a:p>
          <a:p>
            <a:pPr>
              <a:spcAft>
                <a:spcPts val="300"/>
              </a:spcAft>
            </a:pP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=</a:t>
            </a:r>
            <a:r>
              <a:rPr lang="en-US" sz="1200" b="1" dirty="0">
                <a:solidFill>
                  <a:srgbClr val="0070C0"/>
                </a:solidFill>
                <a:latin typeface="Georgia" panose="02040502050405020303" pitchFamily="18" charset="0"/>
              </a:rPr>
              <a:t>IF</a:t>
            </a: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(</a:t>
            </a:r>
            <a:r>
              <a:rPr lang="en-US" sz="1200" dirty="0">
                <a:solidFill>
                  <a:schemeClr val="tx1"/>
                </a:solidFill>
                <a:latin typeface="Georgia" panose="02040502050405020303" pitchFamily="18" charset="0"/>
              </a:rPr>
              <a:t>AND</a:t>
            </a: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(</a:t>
            </a:r>
            <a:r>
              <a:rPr lang="en-US" sz="1200" dirty="0">
                <a:solidFill>
                  <a:schemeClr val="bg2"/>
                </a:solidFill>
                <a:latin typeface="Georgia" panose="02040502050405020303" pitchFamily="18" charset="0"/>
              </a:rPr>
              <a:t>First test, second test</a:t>
            </a: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), </a:t>
            </a:r>
            <a:r>
              <a:rPr lang="en-US" sz="1200" dirty="0">
                <a:solidFill>
                  <a:schemeClr val="tx1"/>
                </a:solidFill>
                <a:latin typeface="Georgia" panose="02040502050405020303" pitchFamily="18" charset="0"/>
              </a:rPr>
              <a:t>outcome if criteria are met, outcome if criteria are not met</a:t>
            </a: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)</a:t>
            </a:r>
          </a:p>
        </p:txBody>
      </p:sp>
      <p:sp>
        <p:nvSpPr>
          <p:cNvPr id="30" name="Freeform 211"/>
          <p:cNvSpPr>
            <a:spLocks noEditPoints="1"/>
          </p:cNvSpPr>
          <p:nvPr/>
        </p:nvSpPr>
        <p:spPr bwMode="auto">
          <a:xfrm>
            <a:off x="8563220" y="4359275"/>
            <a:ext cx="225345" cy="377168"/>
          </a:xfrm>
          <a:custGeom>
            <a:avLst/>
            <a:gdLst>
              <a:gd name="T0" fmla="*/ 223 w 512"/>
              <a:gd name="T1" fmla="*/ 95 h 766"/>
              <a:gd name="T2" fmla="*/ 159 w 512"/>
              <a:gd name="T3" fmla="*/ 95 h 766"/>
              <a:gd name="T4" fmla="*/ 159 w 512"/>
              <a:gd name="T5" fmla="*/ 160 h 766"/>
              <a:gd name="T6" fmla="*/ 223 w 512"/>
              <a:gd name="T7" fmla="*/ 160 h 766"/>
              <a:gd name="T8" fmla="*/ 223 w 512"/>
              <a:gd name="T9" fmla="*/ 95 h 766"/>
              <a:gd name="T10" fmla="*/ 352 w 512"/>
              <a:gd name="T11" fmla="*/ 95 h 766"/>
              <a:gd name="T12" fmla="*/ 287 w 512"/>
              <a:gd name="T13" fmla="*/ 95 h 766"/>
              <a:gd name="T14" fmla="*/ 287 w 512"/>
              <a:gd name="T15" fmla="*/ 160 h 766"/>
              <a:gd name="T16" fmla="*/ 352 w 512"/>
              <a:gd name="T17" fmla="*/ 160 h 766"/>
              <a:gd name="T18" fmla="*/ 352 w 512"/>
              <a:gd name="T19" fmla="*/ 95 h 766"/>
              <a:gd name="T20" fmla="*/ 448 w 512"/>
              <a:gd name="T21" fmla="*/ 223 h 766"/>
              <a:gd name="T22" fmla="*/ 448 w 512"/>
              <a:gd name="T23" fmla="*/ 0 h 766"/>
              <a:gd name="T24" fmla="*/ 63 w 512"/>
              <a:gd name="T25" fmla="*/ 0 h 766"/>
              <a:gd name="T26" fmla="*/ 63 w 512"/>
              <a:gd name="T27" fmla="*/ 223 h 766"/>
              <a:gd name="T28" fmla="*/ 63 w 512"/>
              <a:gd name="T29" fmla="*/ 223 h 766"/>
              <a:gd name="T30" fmla="*/ 50 w 512"/>
              <a:gd name="T31" fmla="*/ 224 h 766"/>
              <a:gd name="T32" fmla="*/ 39 w 512"/>
              <a:gd name="T33" fmla="*/ 228 h 766"/>
              <a:gd name="T34" fmla="*/ 27 w 512"/>
              <a:gd name="T35" fmla="*/ 234 h 766"/>
              <a:gd name="T36" fmla="*/ 19 w 512"/>
              <a:gd name="T37" fmla="*/ 241 h 766"/>
              <a:gd name="T38" fmla="*/ 10 w 512"/>
              <a:gd name="T39" fmla="*/ 251 h 766"/>
              <a:gd name="T40" fmla="*/ 4 w 512"/>
              <a:gd name="T41" fmla="*/ 262 h 766"/>
              <a:gd name="T42" fmla="*/ 1 w 512"/>
              <a:gd name="T43" fmla="*/ 274 h 766"/>
              <a:gd name="T44" fmla="*/ 0 w 512"/>
              <a:gd name="T45" fmla="*/ 287 h 766"/>
              <a:gd name="T46" fmla="*/ 0 w 512"/>
              <a:gd name="T47" fmla="*/ 703 h 766"/>
              <a:gd name="T48" fmla="*/ 0 w 512"/>
              <a:gd name="T49" fmla="*/ 703 h 766"/>
              <a:gd name="T50" fmla="*/ 1 w 512"/>
              <a:gd name="T51" fmla="*/ 716 h 766"/>
              <a:gd name="T52" fmla="*/ 4 w 512"/>
              <a:gd name="T53" fmla="*/ 728 h 766"/>
              <a:gd name="T54" fmla="*/ 10 w 512"/>
              <a:gd name="T55" fmla="*/ 739 h 766"/>
              <a:gd name="T56" fmla="*/ 19 w 512"/>
              <a:gd name="T57" fmla="*/ 748 h 766"/>
              <a:gd name="T58" fmla="*/ 27 w 512"/>
              <a:gd name="T59" fmla="*/ 756 h 766"/>
              <a:gd name="T60" fmla="*/ 39 w 512"/>
              <a:gd name="T61" fmla="*/ 762 h 766"/>
              <a:gd name="T62" fmla="*/ 50 w 512"/>
              <a:gd name="T63" fmla="*/ 765 h 766"/>
              <a:gd name="T64" fmla="*/ 63 w 512"/>
              <a:gd name="T65" fmla="*/ 766 h 766"/>
              <a:gd name="T66" fmla="*/ 448 w 512"/>
              <a:gd name="T67" fmla="*/ 766 h 766"/>
              <a:gd name="T68" fmla="*/ 448 w 512"/>
              <a:gd name="T69" fmla="*/ 766 h 766"/>
              <a:gd name="T70" fmla="*/ 460 w 512"/>
              <a:gd name="T71" fmla="*/ 765 h 766"/>
              <a:gd name="T72" fmla="*/ 472 w 512"/>
              <a:gd name="T73" fmla="*/ 762 h 766"/>
              <a:gd name="T74" fmla="*/ 483 w 512"/>
              <a:gd name="T75" fmla="*/ 756 h 766"/>
              <a:gd name="T76" fmla="*/ 492 w 512"/>
              <a:gd name="T77" fmla="*/ 748 h 766"/>
              <a:gd name="T78" fmla="*/ 501 w 512"/>
              <a:gd name="T79" fmla="*/ 739 h 766"/>
              <a:gd name="T80" fmla="*/ 507 w 512"/>
              <a:gd name="T81" fmla="*/ 728 h 766"/>
              <a:gd name="T82" fmla="*/ 510 w 512"/>
              <a:gd name="T83" fmla="*/ 716 h 766"/>
              <a:gd name="T84" fmla="*/ 512 w 512"/>
              <a:gd name="T85" fmla="*/ 703 h 766"/>
              <a:gd name="T86" fmla="*/ 512 w 512"/>
              <a:gd name="T87" fmla="*/ 287 h 766"/>
              <a:gd name="T88" fmla="*/ 512 w 512"/>
              <a:gd name="T89" fmla="*/ 287 h 766"/>
              <a:gd name="T90" fmla="*/ 510 w 512"/>
              <a:gd name="T91" fmla="*/ 274 h 766"/>
              <a:gd name="T92" fmla="*/ 507 w 512"/>
              <a:gd name="T93" fmla="*/ 262 h 766"/>
              <a:gd name="T94" fmla="*/ 501 w 512"/>
              <a:gd name="T95" fmla="*/ 251 h 766"/>
              <a:gd name="T96" fmla="*/ 492 w 512"/>
              <a:gd name="T97" fmla="*/ 241 h 766"/>
              <a:gd name="T98" fmla="*/ 483 w 512"/>
              <a:gd name="T99" fmla="*/ 234 h 766"/>
              <a:gd name="T100" fmla="*/ 472 w 512"/>
              <a:gd name="T101" fmla="*/ 228 h 766"/>
              <a:gd name="T102" fmla="*/ 460 w 512"/>
              <a:gd name="T103" fmla="*/ 224 h 766"/>
              <a:gd name="T104" fmla="*/ 448 w 512"/>
              <a:gd name="T105" fmla="*/ 223 h 766"/>
              <a:gd name="T106" fmla="*/ 448 w 512"/>
              <a:gd name="T107" fmla="*/ 223 h 766"/>
              <a:gd name="T108" fmla="*/ 400 w 512"/>
              <a:gd name="T109" fmla="*/ 223 h 766"/>
              <a:gd name="T110" fmla="*/ 111 w 512"/>
              <a:gd name="T111" fmla="*/ 223 h 766"/>
              <a:gd name="T112" fmla="*/ 111 w 512"/>
              <a:gd name="T113" fmla="*/ 47 h 766"/>
              <a:gd name="T114" fmla="*/ 400 w 512"/>
              <a:gd name="T115" fmla="*/ 47 h 766"/>
              <a:gd name="T116" fmla="*/ 400 w 512"/>
              <a:gd name="T117" fmla="*/ 223 h 7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12" h="766">
                <a:moveTo>
                  <a:pt x="223" y="95"/>
                </a:moveTo>
                <a:lnTo>
                  <a:pt x="159" y="95"/>
                </a:lnTo>
                <a:lnTo>
                  <a:pt x="159" y="160"/>
                </a:lnTo>
                <a:lnTo>
                  <a:pt x="223" y="160"/>
                </a:lnTo>
                <a:lnTo>
                  <a:pt x="223" y="95"/>
                </a:lnTo>
                <a:close/>
                <a:moveTo>
                  <a:pt x="352" y="95"/>
                </a:moveTo>
                <a:lnTo>
                  <a:pt x="287" y="95"/>
                </a:lnTo>
                <a:lnTo>
                  <a:pt x="287" y="160"/>
                </a:lnTo>
                <a:lnTo>
                  <a:pt x="352" y="160"/>
                </a:lnTo>
                <a:lnTo>
                  <a:pt x="352" y="95"/>
                </a:lnTo>
                <a:close/>
                <a:moveTo>
                  <a:pt x="448" y="223"/>
                </a:moveTo>
                <a:lnTo>
                  <a:pt x="448" y="0"/>
                </a:lnTo>
                <a:lnTo>
                  <a:pt x="63" y="0"/>
                </a:lnTo>
                <a:lnTo>
                  <a:pt x="63" y="223"/>
                </a:lnTo>
                <a:lnTo>
                  <a:pt x="63" y="223"/>
                </a:lnTo>
                <a:lnTo>
                  <a:pt x="50" y="224"/>
                </a:lnTo>
                <a:lnTo>
                  <a:pt x="39" y="228"/>
                </a:lnTo>
                <a:lnTo>
                  <a:pt x="27" y="234"/>
                </a:lnTo>
                <a:lnTo>
                  <a:pt x="19" y="241"/>
                </a:lnTo>
                <a:lnTo>
                  <a:pt x="10" y="251"/>
                </a:lnTo>
                <a:lnTo>
                  <a:pt x="4" y="262"/>
                </a:lnTo>
                <a:lnTo>
                  <a:pt x="1" y="274"/>
                </a:lnTo>
                <a:lnTo>
                  <a:pt x="0" y="287"/>
                </a:lnTo>
                <a:lnTo>
                  <a:pt x="0" y="703"/>
                </a:lnTo>
                <a:lnTo>
                  <a:pt x="0" y="703"/>
                </a:lnTo>
                <a:lnTo>
                  <a:pt x="1" y="716"/>
                </a:lnTo>
                <a:lnTo>
                  <a:pt x="4" y="728"/>
                </a:lnTo>
                <a:lnTo>
                  <a:pt x="10" y="739"/>
                </a:lnTo>
                <a:lnTo>
                  <a:pt x="19" y="748"/>
                </a:lnTo>
                <a:lnTo>
                  <a:pt x="27" y="756"/>
                </a:lnTo>
                <a:lnTo>
                  <a:pt x="39" y="762"/>
                </a:lnTo>
                <a:lnTo>
                  <a:pt x="50" y="765"/>
                </a:lnTo>
                <a:lnTo>
                  <a:pt x="63" y="766"/>
                </a:lnTo>
                <a:lnTo>
                  <a:pt x="448" y="766"/>
                </a:lnTo>
                <a:lnTo>
                  <a:pt x="448" y="766"/>
                </a:lnTo>
                <a:lnTo>
                  <a:pt x="460" y="765"/>
                </a:lnTo>
                <a:lnTo>
                  <a:pt x="472" y="762"/>
                </a:lnTo>
                <a:lnTo>
                  <a:pt x="483" y="756"/>
                </a:lnTo>
                <a:lnTo>
                  <a:pt x="492" y="748"/>
                </a:lnTo>
                <a:lnTo>
                  <a:pt x="501" y="739"/>
                </a:lnTo>
                <a:lnTo>
                  <a:pt x="507" y="728"/>
                </a:lnTo>
                <a:lnTo>
                  <a:pt x="510" y="716"/>
                </a:lnTo>
                <a:lnTo>
                  <a:pt x="512" y="703"/>
                </a:lnTo>
                <a:lnTo>
                  <a:pt x="512" y="287"/>
                </a:lnTo>
                <a:lnTo>
                  <a:pt x="512" y="287"/>
                </a:lnTo>
                <a:lnTo>
                  <a:pt x="510" y="274"/>
                </a:lnTo>
                <a:lnTo>
                  <a:pt x="507" y="262"/>
                </a:lnTo>
                <a:lnTo>
                  <a:pt x="501" y="251"/>
                </a:lnTo>
                <a:lnTo>
                  <a:pt x="492" y="241"/>
                </a:lnTo>
                <a:lnTo>
                  <a:pt x="483" y="234"/>
                </a:lnTo>
                <a:lnTo>
                  <a:pt x="472" y="228"/>
                </a:lnTo>
                <a:lnTo>
                  <a:pt x="460" y="224"/>
                </a:lnTo>
                <a:lnTo>
                  <a:pt x="448" y="223"/>
                </a:lnTo>
                <a:lnTo>
                  <a:pt x="448" y="223"/>
                </a:lnTo>
                <a:close/>
                <a:moveTo>
                  <a:pt x="400" y="223"/>
                </a:moveTo>
                <a:lnTo>
                  <a:pt x="111" y="223"/>
                </a:lnTo>
                <a:lnTo>
                  <a:pt x="111" y="47"/>
                </a:lnTo>
                <a:lnTo>
                  <a:pt x="400" y="47"/>
                </a:lnTo>
                <a:lnTo>
                  <a:pt x="400" y="22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grpSp>
        <p:nvGrpSpPr>
          <p:cNvPr id="66" name="Group 65"/>
          <p:cNvGrpSpPr/>
          <p:nvPr/>
        </p:nvGrpSpPr>
        <p:grpSpPr>
          <a:xfrm>
            <a:off x="4741786" y="4839950"/>
            <a:ext cx="3333261" cy="124245"/>
            <a:chOff x="4741786" y="4807866"/>
            <a:chExt cx="3333261" cy="124245"/>
          </a:xfrm>
        </p:grpSpPr>
        <p:grpSp>
          <p:nvGrpSpPr>
            <p:cNvPr id="67" name="Group 66"/>
            <p:cNvGrpSpPr/>
            <p:nvPr/>
          </p:nvGrpSpPr>
          <p:grpSpPr>
            <a:xfrm>
              <a:off x="4741786" y="4807866"/>
              <a:ext cx="749501" cy="124245"/>
              <a:chOff x="4744137" y="4807866"/>
              <a:chExt cx="749501" cy="124245"/>
            </a:xfrm>
          </p:grpSpPr>
          <p:sp>
            <p:nvSpPr>
              <p:cNvPr id="77" name="Content Placeholder 2"/>
              <p:cNvSpPr txBox="1">
                <a:spLocks/>
              </p:cNvSpPr>
              <p:nvPr/>
            </p:nvSpPr>
            <p:spPr>
              <a:xfrm>
                <a:off x="4744137" y="4807866"/>
                <a:ext cx="289063" cy="124245"/>
              </a:xfrm>
              <a:prstGeom prst="rect">
                <a:avLst/>
              </a:prstGeom>
              <a:solidFill>
                <a:srgbClr val="0070C0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TextBox 77"/>
              <p:cNvSpPr txBox="1"/>
              <p:nvPr/>
            </p:nvSpPr>
            <p:spPr>
              <a:xfrm>
                <a:off x="5083269" y="4808433"/>
                <a:ext cx="41036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Function</a:t>
                </a:r>
              </a:p>
            </p:txBody>
          </p:sp>
        </p:grpSp>
        <p:grpSp>
          <p:nvGrpSpPr>
            <p:cNvPr id="68" name="Group 67"/>
            <p:cNvGrpSpPr/>
            <p:nvPr/>
          </p:nvGrpSpPr>
          <p:grpSpPr>
            <a:xfrm>
              <a:off x="5657762" y="4807866"/>
              <a:ext cx="964303" cy="124245"/>
              <a:chOff x="5639959" y="4807866"/>
              <a:chExt cx="964303" cy="124245"/>
            </a:xfrm>
          </p:grpSpPr>
          <p:sp>
            <p:nvSpPr>
              <p:cNvPr id="75" name="Content Placeholder 2"/>
              <p:cNvSpPr txBox="1">
                <a:spLocks/>
              </p:cNvSpPr>
              <p:nvPr/>
            </p:nvSpPr>
            <p:spPr>
              <a:xfrm>
                <a:off x="5639959" y="4807866"/>
                <a:ext cx="289063" cy="124245"/>
              </a:xfrm>
              <a:prstGeom prst="rect">
                <a:avLst/>
              </a:prstGeom>
              <a:solidFill>
                <a:schemeClr val="accent1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b="1" i="1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6" name="TextBox 75"/>
              <p:cNvSpPr txBox="1"/>
              <p:nvPr/>
            </p:nvSpPr>
            <p:spPr>
              <a:xfrm>
                <a:off x="5979091" y="4808433"/>
                <a:ext cx="625171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Input Criteria</a:t>
                </a:r>
              </a:p>
            </p:txBody>
          </p:sp>
        </p:grpSp>
        <p:grpSp>
          <p:nvGrpSpPr>
            <p:cNvPr id="71" name="Group 70"/>
            <p:cNvGrpSpPr/>
            <p:nvPr/>
          </p:nvGrpSpPr>
          <p:grpSpPr>
            <a:xfrm>
              <a:off x="6790028" y="4807866"/>
              <a:ext cx="1285019" cy="124245"/>
              <a:chOff x="6731917" y="4807866"/>
              <a:chExt cx="1285019" cy="124245"/>
            </a:xfrm>
          </p:grpSpPr>
          <p:sp>
            <p:nvSpPr>
              <p:cNvPr id="73" name="Content Placeholder 2"/>
              <p:cNvSpPr txBox="1">
                <a:spLocks/>
              </p:cNvSpPr>
              <p:nvPr/>
            </p:nvSpPr>
            <p:spPr>
              <a:xfrm>
                <a:off x="6731917" y="4807866"/>
                <a:ext cx="289063" cy="124245"/>
              </a:xfrm>
              <a:prstGeom prst="rect">
                <a:avLst/>
              </a:prstGeom>
              <a:solidFill>
                <a:schemeClr val="tx1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B0F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b="1" i="1" dirty="0">
                  <a:solidFill>
                    <a:srgbClr val="00B0F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B0F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B0F0"/>
                  </a:solidFill>
                </a:endParaRPr>
              </a:p>
            </p:txBody>
          </p:sp>
          <p:sp>
            <p:nvSpPr>
              <p:cNvPr id="74" name="TextBox 73"/>
              <p:cNvSpPr txBox="1"/>
              <p:nvPr/>
            </p:nvSpPr>
            <p:spPr>
              <a:xfrm>
                <a:off x="7069561" y="4808433"/>
                <a:ext cx="947375" cy="123111"/>
              </a:xfrm>
              <a:prstGeom prst="rect">
                <a:avLst/>
              </a:prstGeom>
              <a:noFill/>
              <a:effectLst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 smtClean="0">
                    <a:latin typeface="Georgia" pitchFamily="18" charset="0"/>
                  </a:rPr>
                  <a:t>User Defined Output</a:t>
                </a:r>
                <a:endParaRPr lang="en-US" sz="800" dirty="0">
                  <a:latin typeface="Georgia" pitchFamily="18" charset="0"/>
                </a:endParaRP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7866961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 bwMode="ltGray">
          <a:xfrm>
            <a:off x="4741786" y="614362"/>
            <a:ext cx="4135514" cy="1957388"/>
          </a:xfrm>
          <a:prstGeom prst="rect">
            <a:avLst/>
          </a:prstGeom>
          <a:solidFill>
            <a:schemeClr val="tx2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72" name="Parallelogram 71"/>
          <p:cNvSpPr/>
          <p:nvPr/>
        </p:nvSpPr>
        <p:spPr bwMode="ltGray">
          <a:xfrm flipH="1">
            <a:off x="-5832" y="0"/>
            <a:ext cx="3712801" cy="5143500"/>
          </a:xfrm>
          <a:prstGeom prst="parallelogram">
            <a:avLst>
              <a:gd name="adj" fmla="val 77827"/>
            </a:avLst>
          </a:prstGeom>
          <a:solidFill>
            <a:srgbClr val="D5D1C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2" name="Rectangle 31"/>
          <p:cNvSpPr/>
          <p:nvPr/>
        </p:nvSpPr>
        <p:spPr bwMode="ltGray">
          <a:xfrm>
            <a:off x="251225" y="2866092"/>
            <a:ext cx="4255644" cy="1926763"/>
          </a:xfrm>
          <a:prstGeom prst="rect">
            <a:avLst/>
          </a:prstGeom>
          <a:solidFill>
            <a:srgbClr val="EB8C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69" name="Title 1"/>
          <p:cNvSpPr>
            <a:spLocks noGrp="1"/>
          </p:cNvSpPr>
          <p:nvPr>
            <p:ph type="title"/>
          </p:nvPr>
        </p:nvSpPr>
        <p:spPr>
          <a:xfrm>
            <a:off x="1178327" y="111849"/>
            <a:ext cx="7680410" cy="404406"/>
          </a:xfrm>
        </p:spPr>
        <p:txBody>
          <a:bodyPr/>
          <a:lstStyle/>
          <a:p>
            <a:r>
              <a:rPr lang="en-US" dirty="0"/>
              <a:t>Logical functions– IF + OR function</a:t>
            </a:r>
            <a:endParaRPr lang="en-GB" b="0" i="0" dirty="0" smtClean="0"/>
          </a:p>
        </p:txBody>
      </p:sp>
      <p:sp>
        <p:nvSpPr>
          <p:cNvPr id="86" name="Rectangle 85"/>
          <p:cNvSpPr/>
          <p:nvPr/>
        </p:nvSpPr>
        <p:spPr bwMode="ltGray">
          <a:xfrm>
            <a:off x="251225" y="628104"/>
            <a:ext cx="4255644" cy="1943646"/>
          </a:xfrm>
          <a:prstGeom prst="rect">
            <a:avLst/>
          </a:prstGeom>
          <a:solidFill>
            <a:schemeClr val="accent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90" name="Rectangle 89"/>
          <p:cNvSpPr/>
          <p:nvPr/>
        </p:nvSpPr>
        <p:spPr bwMode="ltGray">
          <a:xfrm>
            <a:off x="4741786" y="2855610"/>
            <a:ext cx="4145039" cy="1925940"/>
          </a:xfrm>
          <a:prstGeom prst="rect">
            <a:avLst/>
          </a:prstGeom>
          <a:solidFill>
            <a:schemeClr val="accent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415925" y="963128"/>
            <a:ext cx="4022915" cy="92333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IF + OR Statements facilitate the use of multiple logical tests in evaluating a data set, where any test can be true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Each statement within the OR function must be structured as a unique test; you can’t simply list the values being compared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4956906" y="3302803"/>
            <a:ext cx="3840480" cy="96180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If any part of the OR function results in an error message, the entire formula will display an error message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The OR Statement is frequently combined with multiple formulas to analyze data </a:t>
            </a: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>from multiple </a:t>
            </a: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angles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415925" y="3302803"/>
            <a:ext cx="4023360" cy="5924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Evaluating data that are on opposite ends of a range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Consolidating multiple pieces of data analysis into a </a:t>
            </a: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>single formula</a:t>
            </a:r>
            <a:endParaRPr lang="en-US" sz="1200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01585" y="658652"/>
            <a:ext cx="940895" cy="2383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900"/>
              </a:spcAft>
            </a:pPr>
            <a:r>
              <a:rPr lang="en-GB" b="1" i="1" dirty="0" smtClean="0">
                <a:solidFill>
                  <a:schemeClr val="bg1"/>
                </a:solidFill>
                <a:latin typeface="Georgia" pitchFamily="18" charset="0"/>
              </a:rPr>
              <a:t>Overview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4937376" y="648119"/>
            <a:ext cx="940895" cy="2383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Syntax</a:t>
            </a:r>
            <a:endParaRPr lang="en-GB" b="1" i="1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907130" y="2937365"/>
            <a:ext cx="2550742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Tips </a:t>
            </a:r>
            <a:r>
              <a:rPr lang="en-GB" b="1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nd Tricks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415925" y="2988994"/>
            <a:ext cx="2651530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Uses </a:t>
            </a:r>
            <a:r>
              <a:rPr lang="en-GB" b="1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nd Applications</a:t>
            </a:r>
          </a:p>
        </p:txBody>
      </p:sp>
      <p:sp>
        <p:nvSpPr>
          <p:cNvPr id="23" name="Freeform 201"/>
          <p:cNvSpPr>
            <a:spLocks noEditPoints="1"/>
          </p:cNvSpPr>
          <p:nvPr/>
        </p:nvSpPr>
        <p:spPr bwMode="auto">
          <a:xfrm>
            <a:off x="4040650" y="2222127"/>
            <a:ext cx="398190" cy="283985"/>
          </a:xfrm>
          <a:custGeom>
            <a:avLst/>
            <a:gdLst>
              <a:gd name="T0" fmla="*/ 67 w 812"/>
              <a:gd name="T1" fmla="*/ 0 h 576"/>
              <a:gd name="T2" fmla="*/ 30 w 812"/>
              <a:gd name="T3" fmla="*/ 12 h 576"/>
              <a:gd name="T4" fmla="*/ 5 w 812"/>
              <a:gd name="T5" fmla="*/ 43 h 576"/>
              <a:gd name="T6" fmla="*/ 0 w 812"/>
              <a:gd name="T7" fmla="*/ 390 h 576"/>
              <a:gd name="T8" fmla="*/ 5 w 812"/>
              <a:gd name="T9" fmla="*/ 416 h 576"/>
              <a:gd name="T10" fmla="*/ 30 w 812"/>
              <a:gd name="T11" fmla="*/ 446 h 576"/>
              <a:gd name="T12" fmla="*/ 67 w 812"/>
              <a:gd name="T13" fmla="*/ 457 h 576"/>
              <a:gd name="T14" fmla="*/ 101 w 812"/>
              <a:gd name="T15" fmla="*/ 509 h 576"/>
              <a:gd name="T16" fmla="*/ 473 w 812"/>
              <a:gd name="T17" fmla="*/ 509 h 576"/>
              <a:gd name="T18" fmla="*/ 507 w 812"/>
              <a:gd name="T19" fmla="*/ 457 h 576"/>
              <a:gd name="T20" fmla="*/ 534 w 812"/>
              <a:gd name="T21" fmla="*/ 452 h 576"/>
              <a:gd name="T22" fmla="*/ 564 w 812"/>
              <a:gd name="T23" fmla="*/ 428 h 576"/>
              <a:gd name="T24" fmla="*/ 575 w 812"/>
              <a:gd name="T25" fmla="*/ 390 h 576"/>
              <a:gd name="T26" fmla="*/ 574 w 812"/>
              <a:gd name="T27" fmla="*/ 55 h 576"/>
              <a:gd name="T28" fmla="*/ 555 w 812"/>
              <a:gd name="T29" fmla="*/ 21 h 576"/>
              <a:gd name="T30" fmla="*/ 522 w 812"/>
              <a:gd name="T31" fmla="*/ 2 h 576"/>
              <a:gd name="T32" fmla="*/ 507 w 812"/>
              <a:gd name="T33" fmla="*/ 373 h 576"/>
              <a:gd name="T34" fmla="*/ 502 w 812"/>
              <a:gd name="T35" fmla="*/ 385 h 576"/>
              <a:gd name="T36" fmla="*/ 84 w 812"/>
              <a:gd name="T37" fmla="*/ 390 h 576"/>
              <a:gd name="T38" fmla="*/ 72 w 812"/>
              <a:gd name="T39" fmla="*/ 385 h 576"/>
              <a:gd name="T40" fmla="*/ 67 w 812"/>
              <a:gd name="T41" fmla="*/ 85 h 576"/>
              <a:gd name="T42" fmla="*/ 72 w 812"/>
              <a:gd name="T43" fmla="*/ 74 h 576"/>
              <a:gd name="T44" fmla="*/ 490 w 812"/>
              <a:gd name="T45" fmla="*/ 68 h 576"/>
              <a:gd name="T46" fmla="*/ 502 w 812"/>
              <a:gd name="T47" fmla="*/ 74 h 576"/>
              <a:gd name="T48" fmla="*/ 507 w 812"/>
              <a:gd name="T49" fmla="*/ 373 h 576"/>
              <a:gd name="T50" fmla="*/ 643 w 812"/>
              <a:gd name="T51" fmla="*/ 0 h 576"/>
              <a:gd name="T52" fmla="*/ 624 w 812"/>
              <a:gd name="T53" fmla="*/ 6 h 576"/>
              <a:gd name="T54" fmla="*/ 612 w 812"/>
              <a:gd name="T55" fmla="*/ 21 h 576"/>
              <a:gd name="T56" fmla="*/ 610 w 812"/>
              <a:gd name="T57" fmla="*/ 543 h 576"/>
              <a:gd name="T58" fmla="*/ 612 w 812"/>
              <a:gd name="T59" fmla="*/ 556 h 576"/>
              <a:gd name="T60" fmla="*/ 624 w 812"/>
              <a:gd name="T61" fmla="*/ 570 h 576"/>
              <a:gd name="T62" fmla="*/ 643 w 812"/>
              <a:gd name="T63" fmla="*/ 576 h 576"/>
              <a:gd name="T64" fmla="*/ 786 w 812"/>
              <a:gd name="T65" fmla="*/ 575 h 576"/>
              <a:gd name="T66" fmla="*/ 802 w 812"/>
              <a:gd name="T67" fmla="*/ 566 h 576"/>
              <a:gd name="T68" fmla="*/ 811 w 812"/>
              <a:gd name="T69" fmla="*/ 549 h 576"/>
              <a:gd name="T70" fmla="*/ 812 w 812"/>
              <a:gd name="T71" fmla="*/ 34 h 576"/>
              <a:gd name="T72" fmla="*/ 806 w 812"/>
              <a:gd name="T73" fmla="*/ 16 h 576"/>
              <a:gd name="T74" fmla="*/ 792 w 812"/>
              <a:gd name="T75" fmla="*/ 3 h 576"/>
              <a:gd name="T76" fmla="*/ 778 w 812"/>
              <a:gd name="T77" fmla="*/ 0 h 576"/>
              <a:gd name="T78" fmla="*/ 702 w 812"/>
              <a:gd name="T79" fmla="*/ 444 h 576"/>
              <a:gd name="T80" fmla="*/ 683 w 812"/>
              <a:gd name="T81" fmla="*/ 434 h 576"/>
              <a:gd name="T82" fmla="*/ 674 w 812"/>
              <a:gd name="T83" fmla="*/ 415 h 576"/>
              <a:gd name="T84" fmla="*/ 674 w 812"/>
              <a:gd name="T85" fmla="*/ 399 h 576"/>
              <a:gd name="T86" fmla="*/ 683 w 812"/>
              <a:gd name="T87" fmla="*/ 380 h 576"/>
              <a:gd name="T88" fmla="*/ 702 w 812"/>
              <a:gd name="T89" fmla="*/ 369 h 576"/>
              <a:gd name="T90" fmla="*/ 718 w 812"/>
              <a:gd name="T91" fmla="*/ 369 h 576"/>
              <a:gd name="T92" fmla="*/ 737 w 812"/>
              <a:gd name="T93" fmla="*/ 380 h 576"/>
              <a:gd name="T94" fmla="*/ 748 w 812"/>
              <a:gd name="T95" fmla="*/ 399 h 576"/>
              <a:gd name="T96" fmla="*/ 748 w 812"/>
              <a:gd name="T97" fmla="*/ 415 h 576"/>
              <a:gd name="T98" fmla="*/ 737 w 812"/>
              <a:gd name="T99" fmla="*/ 434 h 576"/>
              <a:gd name="T100" fmla="*/ 718 w 812"/>
              <a:gd name="T101" fmla="*/ 444 h 576"/>
              <a:gd name="T102" fmla="*/ 765 w 812"/>
              <a:gd name="T103" fmla="*/ 103 h 576"/>
              <a:gd name="T104" fmla="*/ 653 w 812"/>
              <a:gd name="T105" fmla="*/ 103 h 576"/>
              <a:gd name="T106" fmla="*/ 640 w 812"/>
              <a:gd name="T107" fmla="*/ 92 h 576"/>
              <a:gd name="T108" fmla="*/ 639 w 812"/>
              <a:gd name="T109" fmla="*/ 85 h 576"/>
              <a:gd name="T110" fmla="*/ 643 w 812"/>
              <a:gd name="T111" fmla="*/ 73 h 576"/>
              <a:gd name="T112" fmla="*/ 657 w 812"/>
              <a:gd name="T113" fmla="*/ 68 h 576"/>
              <a:gd name="T114" fmla="*/ 769 w 812"/>
              <a:gd name="T115" fmla="*/ 68 h 576"/>
              <a:gd name="T116" fmla="*/ 781 w 812"/>
              <a:gd name="T117" fmla="*/ 79 h 576"/>
              <a:gd name="T118" fmla="*/ 782 w 812"/>
              <a:gd name="T119" fmla="*/ 85 h 576"/>
              <a:gd name="T120" fmla="*/ 777 w 812"/>
              <a:gd name="T121" fmla="*/ 98 h 576"/>
              <a:gd name="T122" fmla="*/ 765 w 812"/>
              <a:gd name="T123" fmla="*/ 103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12" h="576">
                <a:moveTo>
                  <a:pt x="507" y="0"/>
                </a:moveTo>
                <a:lnTo>
                  <a:pt x="67" y="0"/>
                </a:lnTo>
                <a:lnTo>
                  <a:pt x="67" y="0"/>
                </a:lnTo>
                <a:lnTo>
                  <a:pt x="54" y="2"/>
                </a:lnTo>
                <a:lnTo>
                  <a:pt x="41" y="6"/>
                </a:lnTo>
                <a:lnTo>
                  <a:pt x="30" y="12"/>
                </a:lnTo>
                <a:lnTo>
                  <a:pt x="19" y="21"/>
                </a:lnTo>
                <a:lnTo>
                  <a:pt x="12" y="31"/>
                </a:lnTo>
                <a:lnTo>
                  <a:pt x="5" y="43"/>
                </a:lnTo>
                <a:lnTo>
                  <a:pt x="1" y="55"/>
                </a:lnTo>
                <a:lnTo>
                  <a:pt x="0" y="68"/>
                </a:lnTo>
                <a:lnTo>
                  <a:pt x="0" y="390"/>
                </a:lnTo>
                <a:lnTo>
                  <a:pt x="0" y="390"/>
                </a:lnTo>
                <a:lnTo>
                  <a:pt x="1" y="404"/>
                </a:lnTo>
                <a:lnTo>
                  <a:pt x="5" y="416"/>
                </a:lnTo>
                <a:lnTo>
                  <a:pt x="12" y="428"/>
                </a:lnTo>
                <a:lnTo>
                  <a:pt x="19" y="438"/>
                </a:lnTo>
                <a:lnTo>
                  <a:pt x="30" y="446"/>
                </a:lnTo>
                <a:lnTo>
                  <a:pt x="41" y="452"/>
                </a:lnTo>
                <a:lnTo>
                  <a:pt x="54" y="456"/>
                </a:lnTo>
                <a:lnTo>
                  <a:pt x="67" y="457"/>
                </a:lnTo>
                <a:lnTo>
                  <a:pt x="237" y="457"/>
                </a:lnTo>
                <a:lnTo>
                  <a:pt x="237" y="509"/>
                </a:lnTo>
                <a:lnTo>
                  <a:pt x="101" y="509"/>
                </a:lnTo>
                <a:lnTo>
                  <a:pt x="101" y="576"/>
                </a:lnTo>
                <a:lnTo>
                  <a:pt x="473" y="576"/>
                </a:lnTo>
                <a:lnTo>
                  <a:pt x="473" y="509"/>
                </a:lnTo>
                <a:lnTo>
                  <a:pt x="339" y="509"/>
                </a:lnTo>
                <a:lnTo>
                  <a:pt x="339" y="457"/>
                </a:lnTo>
                <a:lnTo>
                  <a:pt x="507" y="457"/>
                </a:lnTo>
                <a:lnTo>
                  <a:pt x="507" y="457"/>
                </a:lnTo>
                <a:lnTo>
                  <a:pt x="522" y="456"/>
                </a:lnTo>
                <a:lnTo>
                  <a:pt x="534" y="452"/>
                </a:lnTo>
                <a:lnTo>
                  <a:pt x="546" y="446"/>
                </a:lnTo>
                <a:lnTo>
                  <a:pt x="555" y="438"/>
                </a:lnTo>
                <a:lnTo>
                  <a:pt x="564" y="428"/>
                </a:lnTo>
                <a:lnTo>
                  <a:pt x="570" y="416"/>
                </a:lnTo>
                <a:lnTo>
                  <a:pt x="574" y="404"/>
                </a:lnTo>
                <a:lnTo>
                  <a:pt x="575" y="390"/>
                </a:lnTo>
                <a:lnTo>
                  <a:pt x="575" y="68"/>
                </a:lnTo>
                <a:lnTo>
                  <a:pt x="575" y="68"/>
                </a:lnTo>
                <a:lnTo>
                  <a:pt x="574" y="55"/>
                </a:lnTo>
                <a:lnTo>
                  <a:pt x="570" y="43"/>
                </a:lnTo>
                <a:lnTo>
                  <a:pt x="564" y="31"/>
                </a:lnTo>
                <a:lnTo>
                  <a:pt x="555" y="21"/>
                </a:lnTo>
                <a:lnTo>
                  <a:pt x="546" y="12"/>
                </a:lnTo>
                <a:lnTo>
                  <a:pt x="534" y="6"/>
                </a:lnTo>
                <a:lnTo>
                  <a:pt x="522" y="2"/>
                </a:lnTo>
                <a:lnTo>
                  <a:pt x="507" y="0"/>
                </a:lnTo>
                <a:lnTo>
                  <a:pt x="507" y="0"/>
                </a:lnTo>
                <a:close/>
                <a:moveTo>
                  <a:pt x="507" y="373"/>
                </a:moveTo>
                <a:lnTo>
                  <a:pt x="507" y="373"/>
                </a:lnTo>
                <a:lnTo>
                  <a:pt x="506" y="380"/>
                </a:lnTo>
                <a:lnTo>
                  <a:pt x="502" y="385"/>
                </a:lnTo>
                <a:lnTo>
                  <a:pt x="498" y="388"/>
                </a:lnTo>
                <a:lnTo>
                  <a:pt x="490" y="390"/>
                </a:lnTo>
                <a:lnTo>
                  <a:pt x="84" y="390"/>
                </a:lnTo>
                <a:lnTo>
                  <a:pt x="84" y="390"/>
                </a:lnTo>
                <a:lnTo>
                  <a:pt x="78" y="388"/>
                </a:lnTo>
                <a:lnTo>
                  <a:pt x="72" y="385"/>
                </a:lnTo>
                <a:lnTo>
                  <a:pt x="69" y="380"/>
                </a:lnTo>
                <a:lnTo>
                  <a:pt x="67" y="373"/>
                </a:lnTo>
                <a:lnTo>
                  <a:pt x="67" y="85"/>
                </a:lnTo>
                <a:lnTo>
                  <a:pt x="67" y="85"/>
                </a:lnTo>
                <a:lnTo>
                  <a:pt x="69" y="79"/>
                </a:lnTo>
                <a:lnTo>
                  <a:pt x="72" y="74"/>
                </a:lnTo>
                <a:lnTo>
                  <a:pt x="78" y="70"/>
                </a:lnTo>
                <a:lnTo>
                  <a:pt x="84" y="68"/>
                </a:lnTo>
                <a:lnTo>
                  <a:pt x="490" y="68"/>
                </a:lnTo>
                <a:lnTo>
                  <a:pt x="490" y="68"/>
                </a:lnTo>
                <a:lnTo>
                  <a:pt x="498" y="70"/>
                </a:lnTo>
                <a:lnTo>
                  <a:pt x="502" y="74"/>
                </a:lnTo>
                <a:lnTo>
                  <a:pt x="506" y="79"/>
                </a:lnTo>
                <a:lnTo>
                  <a:pt x="507" y="85"/>
                </a:lnTo>
                <a:lnTo>
                  <a:pt x="507" y="373"/>
                </a:lnTo>
                <a:close/>
                <a:moveTo>
                  <a:pt x="778" y="0"/>
                </a:moveTo>
                <a:lnTo>
                  <a:pt x="643" y="0"/>
                </a:lnTo>
                <a:lnTo>
                  <a:pt x="643" y="0"/>
                </a:lnTo>
                <a:lnTo>
                  <a:pt x="636" y="2"/>
                </a:lnTo>
                <a:lnTo>
                  <a:pt x="630" y="3"/>
                </a:lnTo>
                <a:lnTo>
                  <a:pt x="624" y="6"/>
                </a:lnTo>
                <a:lnTo>
                  <a:pt x="619" y="11"/>
                </a:lnTo>
                <a:lnTo>
                  <a:pt x="614" y="16"/>
                </a:lnTo>
                <a:lnTo>
                  <a:pt x="612" y="21"/>
                </a:lnTo>
                <a:lnTo>
                  <a:pt x="610" y="28"/>
                </a:lnTo>
                <a:lnTo>
                  <a:pt x="610" y="34"/>
                </a:lnTo>
                <a:lnTo>
                  <a:pt x="610" y="543"/>
                </a:lnTo>
                <a:lnTo>
                  <a:pt x="610" y="543"/>
                </a:lnTo>
                <a:lnTo>
                  <a:pt x="610" y="549"/>
                </a:lnTo>
                <a:lnTo>
                  <a:pt x="612" y="556"/>
                </a:lnTo>
                <a:lnTo>
                  <a:pt x="614" y="561"/>
                </a:lnTo>
                <a:lnTo>
                  <a:pt x="619" y="566"/>
                </a:lnTo>
                <a:lnTo>
                  <a:pt x="624" y="570"/>
                </a:lnTo>
                <a:lnTo>
                  <a:pt x="630" y="574"/>
                </a:lnTo>
                <a:lnTo>
                  <a:pt x="636" y="575"/>
                </a:lnTo>
                <a:lnTo>
                  <a:pt x="643" y="576"/>
                </a:lnTo>
                <a:lnTo>
                  <a:pt x="778" y="576"/>
                </a:lnTo>
                <a:lnTo>
                  <a:pt x="778" y="576"/>
                </a:lnTo>
                <a:lnTo>
                  <a:pt x="786" y="575"/>
                </a:lnTo>
                <a:lnTo>
                  <a:pt x="792" y="574"/>
                </a:lnTo>
                <a:lnTo>
                  <a:pt x="798" y="570"/>
                </a:lnTo>
                <a:lnTo>
                  <a:pt x="802" y="566"/>
                </a:lnTo>
                <a:lnTo>
                  <a:pt x="806" y="561"/>
                </a:lnTo>
                <a:lnTo>
                  <a:pt x="810" y="556"/>
                </a:lnTo>
                <a:lnTo>
                  <a:pt x="811" y="549"/>
                </a:lnTo>
                <a:lnTo>
                  <a:pt x="812" y="543"/>
                </a:lnTo>
                <a:lnTo>
                  <a:pt x="812" y="34"/>
                </a:lnTo>
                <a:lnTo>
                  <a:pt x="812" y="34"/>
                </a:lnTo>
                <a:lnTo>
                  <a:pt x="811" y="28"/>
                </a:lnTo>
                <a:lnTo>
                  <a:pt x="810" y="21"/>
                </a:lnTo>
                <a:lnTo>
                  <a:pt x="806" y="16"/>
                </a:lnTo>
                <a:lnTo>
                  <a:pt x="802" y="11"/>
                </a:lnTo>
                <a:lnTo>
                  <a:pt x="798" y="6"/>
                </a:lnTo>
                <a:lnTo>
                  <a:pt x="792" y="3"/>
                </a:lnTo>
                <a:lnTo>
                  <a:pt x="786" y="2"/>
                </a:lnTo>
                <a:lnTo>
                  <a:pt x="778" y="0"/>
                </a:lnTo>
                <a:lnTo>
                  <a:pt x="778" y="0"/>
                </a:lnTo>
                <a:close/>
                <a:moveTo>
                  <a:pt x="711" y="445"/>
                </a:moveTo>
                <a:lnTo>
                  <a:pt x="711" y="445"/>
                </a:lnTo>
                <a:lnTo>
                  <a:pt x="702" y="444"/>
                </a:lnTo>
                <a:lnTo>
                  <a:pt x="695" y="441"/>
                </a:lnTo>
                <a:lnTo>
                  <a:pt x="689" y="438"/>
                </a:lnTo>
                <a:lnTo>
                  <a:pt x="683" y="434"/>
                </a:lnTo>
                <a:lnTo>
                  <a:pt x="680" y="428"/>
                </a:lnTo>
                <a:lnTo>
                  <a:pt x="676" y="422"/>
                </a:lnTo>
                <a:lnTo>
                  <a:pt x="674" y="415"/>
                </a:lnTo>
                <a:lnTo>
                  <a:pt x="672" y="406"/>
                </a:lnTo>
                <a:lnTo>
                  <a:pt x="672" y="406"/>
                </a:lnTo>
                <a:lnTo>
                  <a:pt x="674" y="399"/>
                </a:lnTo>
                <a:lnTo>
                  <a:pt x="676" y="392"/>
                </a:lnTo>
                <a:lnTo>
                  <a:pt x="680" y="386"/>
                </a:lnTo>
                <a:lnTo>
                  <a:pt x="683" y="380"/>
                </a:lnTo>
                <a:lnTo>
                  <a:pt x="689" y="375"/>
                </a:lnTo>
                <a:lnTo>
                  <a:pt x="695" y="372"/>
                </a:lnTo>
                <a:lnTo>
                  <a:pt x="702" y="369"/>
                </a:lnTo>
                <a:lnTo>
                  <a:pt x="711" y="369"/>
                </a:lnTo>
                <a:lnTo>
                  <a:pt x="711" y="369"/>
                </a:lnTo>
                <a:lnTo>
                  <a:pt x="718" y="369"/>
                </a:lnTo>
                <a:lnTo>
                  <a:pt x="725" y="372"/>
                </a:lnTo>
                <a:lnTo>
                  <a:pt x="731" y="375"/>
                </a:lnTo>
                <a:lnTo>
                  <a:pt x="737" y="380"/>
                </a:lnTo>
                <a:lnTo>
                  <a:pt x="742" y="386"/>
                </a:lnTo>
                <a:lnTo>
                  <a:pt x="746" y="392"/>
                </a:lnTo>
                <a:lnTo>
                  <a:pt x="748" y="399"/>
                </a:lnTo>
                <a:lnTo>
                  <a:pt x="748" y="406"/>
                </a:lnTo>
                <a:lnTo>
                  <a:pt x="748" y="406"/>
                </a:lnTo>
                <a:lnTo>
                  <a:pt x="748" y="415"/>
                </a:lnTo>
                <a:lnTo>
                  <a:pt x="746" y="422"/>
                </a:lnTo>
                <a:lnTo>
                  <a:pt x="742" y="428"/>
                </a:lnTo>
                <a:lnTo>
                  <a:pt x="737" y="434"/>
                </a:lnTo>
                <a:lnTo>
                  <a:pt x="731" y="438"/>
                </a:lnTo>
                <a:lnTo>
                  <a:pt x="725" y="441"/>
                </a:lnTo>
                <a:lnTo>
                  <a:pt x="718" y="444"/>
                </a:lnTo>
                <a:lnTo>
                  <a:pt x="711" y="445"/>
                </a:lnTo>
                <a:lnTo>
                  <a:pt x="711" y="445"/>
                </a:lnTo>
                <a:close/>
                <a:moveTo>
                  <a:pt x="765" y="103"/>
                </a:moveTo>
                <a:lnTo>
                  <a:pt x="657" y="103"/>
                </a:lnTo>
                <a:lnTo>
                  <a:pt x="657" y="103"/>
                </a:lnTo>
                <a:lnTo>
                  <a:pt x="653" y="103"/>
                </a:lnTo>
                <a:lnTo>
                  <a:pt x="649" y="102"/>
                </a:lnTo>
                <a:lnTo>
                  <a:pt x="643" y="98"/>
                </a:lnTo>
                <a:lnTo>
                  <a:pt x="640" y="92"/>
                </a:lnTo>
                <a:lnTo>
                  <a:pt x="639" y="90"/>
                </a:lnTo>
                <a:lnTo>
                  <a:pt x="639" y="85"/>
                </a:lnTo>
                <a:lnTo>
                  <a:pt x="639" y="85"/>
                </a:lnTo>
                <a:lnTo>
                  <a:pt x="639" y="81"/>
                </a:lnTo>
                <a:lnTo>
                  <a:pt x="640" y="79"/>
                </a:lnTo>
                <a:lnTo>
                  <a:pt x="643" y="73"/>
                </a:lnTo>
                <a:lnTo>
                  <a:pt x="649" y="69"/>
                </a:lnTo>
                <a:lnTo>
                  <a:pt x="653" y="68"/>
                </a:lnTo>
                <a:lnTo>
                  <a:pt x="657" y="68"/>
                </a:lnTo>
                <a:lnTo>
                  <a:pt x="765" y="68"/>
                </a:lnTo>
                <a:lnTo>
                  <a:pt x="765" y="68"/>
                </a:lnTo>
                <a:lnTo>
                  <a:pt x="769" y="68"/>
                </a:lnTo>
                <a:lnTo>
                  <a:pt x="771" y="69"/>
                </a:lnTo>
                <a:lnTo>
                  <a:pt x="777" y="73"/>
                </a:lnTo>
                <a:lnTo>
                  <a:pt x="781" y="79"/>
                </a:lnTo>
                <a:lnTo>
                  <a:pt x="782" y="81"/>
                </a:lnTo>
                <a:lnTo>
                  <a:pt x="782" y="85"/>
                </a:lnTo>
                <a:lnTo>
                  <a:pt x="782" y="85"/>
                </a:lnTo>
                <a:lnTo>
                  <a:pt x="782" y="90"/>
                </a:lnTo>
                <a:lnTo>
                  <a:pt x="781" y="92"/>
                </a:lnTo>
                <a:lnTo>
                  <a:pt x="777" y="98"/>
                </a:lnTo>
                <a:lnTo>
                  <a:pt x="771" y="102"/>
                </a:lnTo>
                <a:lnTo>
                  <a:pt x="769" y="103"/>
                </a:lnTo>
                <a:lnTo>
                  <a:pt x="765" y="103"/>
                </a:lnTo>
                <a:lnTo>
                  <a:pt x="765" y="10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24" name="Freeform 206"/>
          <p:cNvSpPr>
            <a:spLocks noEditPoints="1"/>
          </p:cNvSpPr>
          <p:nvPr/>
        </p:nvSpPr>
        <p:spPr bwMode="auto">
          <a:xfrm>
            <a:off x="8471626" y="2142256"/>
            <a:ext cx="356144" cy="363856"/>
          </a:xfrm>
          <a:custGeom>
            <a:avLst/>
            <a:gdLst>
              <a:gd name="T0" fmla="*/ 272 w 736"/>
              <a:gd name="T1" fmla="*/ 192 h 738"/>
              <a:gd name="T2" fmla="*/ 183 w 736"/>
              <a:gd name="T3" fmla="*/ 290 h 738"/>
              <a:gd name="T4" fmla="*/ 171 w 736"/>
              <a:gd name="T5" fmla="*/ 410 h 738"/>
              <a:gd name="T6" fmla="*/ 241 w 736"/>
              <a:gd name="T7" fmla="*/ 524 h 738"/>
              <a:gd name="T8" fmla="*/ 368 w 736"/>
              <a:gd name="T9" fmla="*/ 570 h 738"/>
              <a:gd name="T10" fmla="*/ 480 w 736"/>
              <a:gd name="T11" fmla="*/ 535 h 738"/>
              <a:gd name="T12" fmla="*/ 559 w 736"/>
              <a:gd name="T13" fmla="*/ 429 h 738"/>
              <a:gd name="T14" fmla="*/ 559 w 736"/>
              <a:gd name="T15" fmla="*/ 309 h 738"/>
              <a:gd name="T16" fmla="*/ 480 w 736"/>
              <a:gd name="T17" fmla="*/ 203 h 738"/>
              <a:gd name="T18" fmla="*/ 368 w 736"/>
              <a:gd name="T19" fmla="*/ 168 h 738"/>
              <a:gd name="T20" fmla="*/ 319 w 736"/>
              <a:gd name="T21" fmla="*/ 460 h 738"/>
              <a:gd name="T22" fmla="*/ 272 w 736"/>
              <a:gd name="T23" fmla="*/ 410 h 738"/>
              <a:gd name="T24" fmla="*/ 266 w 736"/>
              <a:gd name="T25" fmla="*/ 347 h 738"/>
              <a:gd name="T26" fmla="*/ 302 w 736"/>
              <a:gd name="T27" fmla="*/ 288 h 738"/>
              <a:gd name="T28" fmla="*/ 368 w 736"/>
              <a:gd name="T29" fmla="*/ 264 h 738"/>
              <a:gd name="T30" fmla="*/ 427 w 736"/>
              <a:gd name="T31" fmla="*/ 282 h 738"/>
              <a:gd name="T32" fmla="*/ 468 w 736"/>
              <a:gd name="T33" fmla="*/ 337 h 738"/>
              <a:gd name="T34" fmla="*/ 468 w 736"/>
              <a:gd name="T35" fmla="*/ 400 h 738"/>
              <a:gd name="T36" fmla="*/ 427 w 736"/>
              <a:gd name="T37" fmla="*/ 456 h 738"/>
              <a:gd name="T38" fmla="*/ 368 w 736"/>
              <a:gd name="T39" fmla="*/ 474 h 738"/>
              <a:gd name="T40" fmla="*/ 19 w 736"/>
              <a:gd name="T41" fmla="*/ 19 h 738"/>
              <a:gd name="T42" fmla="*/ 1 w 736"/>
              <a:gd name="T43" fmla="*/ 685 h 738"/>
              <a:gd name="T44" fmla="*/ 67 w 736"/>
              <a:gd name="T45" fmla="*/ 738 h 738"/>
              <a:gd name="T46" fmla="*/ 724 w 736"/>
              <a:gd name="T47" fmla="*/ 707 h 738"/>
              <a:gd name="T48" fmla="*/ 731 w 736"/>
              <a:gd name="T49" fmla="*/ 41 h 738"/>
              <a:gd name="T50" fmla="*/ 668 w 736"/>
              <a:gd name="T51" fmla="*/ 0 h 738"/>
              <a:gd name="T52" fmla="*/ 131 w 736"/>
              <a:gd name="T53" fmla="*/ 80 h 738"/>
              <a:gd name="T54" fmla="*/ 131 w 736"/>
              <a:gd name="T55" fmla="*/ 122 h 738"/>
              <a:gd name="T56" fmla="*/ 93 w 736"/>
              <a:gd name="T57" fmla="*/ 137 h 738"/>
              <a:gd name="T58" fmla="*/ 63 w 736"/>
              <a:gd name="T59" fmla="*/ 100 h 738"/>
              <a:gd name="T60" fmla="*/ 85 w 736"/>
              <a:gd name="T61" fmla="*/ 66 h 738"/>
              <a:gd name="T62" fmla="*/ 85 w 736"/>
              <a:gd name="T63" fmla="*/ 671 h 738"/>
              <a:gd name="T64" fmla="*/ 63 w 736"/>
              <a:gd name="T65" fmla="*/ 638 h 738"/>
              <a:gd name="T66" fmla="*/ 93 w 736"/>
              <a:gd name="T67" fmla="*/ 600 h 738"/>
              <a:gd name="T68" fmla="*/ 131 w 736"/>
              <a:gd name="T69" fmla="*/ 616 h 738"/>
              <a:gd name="T70" fmla="*/ 131 w 736"/>
              <a:gd name="T71" fmla="*/ 658 h 738"/>
              <a:gd name="T72" fmla="*/ 368 w 736"/>
              <a:gd name="T73" fmla="*/ 641 h 738"/>
              <a:gd name="T74" fmla="*/ 216 w 736"/>
              <a:gd name="T75" fmla="*/ 594 h 738"/>
              <a:gd name="T76" fmla="*/ 108 w 736"/>
              <a:gd name="T77" fmla="*/ 450 h 738"/>
              <a:gd name="T78" fmla="*/ 108 w 736"/>
              <a:gd name="T79" fmla="*/ 288 h 738"/>
              <a:gd name="T80" fmla="*/ 216 w 736"/>
              <a:gd name="T81" fmla="*/ 143 h 738"/>
              <a:gd name="T82" fmla="*/ 368 w 736"/>
              <a:gd name="T83" fmla="*/ 96 h 738"/>
              <a:gd name="T84" fmla="*/ 541 w 736"/>
              <a:gd name="T85" fmla="*/ 159 h 738"/>
              <a:gd name="T86" fmla="*/ 634 w 736"/>
              <a:gd name="T87" fmla="*/ 313 h 738"/>
              <a:gd name="T88" fmla="*/ 618 w 736"/>
              <a:gd name="T89" fmla="*/ 475 h 738"/>
              <a:gd name="T90" fmla="*/ 498 w 736"/>
              <a:gd name="T91" fmla="*/ 609 h 738"/>
              <a:gd name="T92" fmla="*/ 636 w 736"/>
              <a:gd name="T93" fmla="*/ 675 h 738"/>
              <a:gd name="T94" fmla="*/ 601 w 736"/>
              <a:gd name="T95" fmla="*/ 652 h 738"/>
              <a:gd name="T96" fmla="*/ 608 w 736"/>
              <a:gd name="T97" fmla="*/ 610 h 738"/>
              <a:gd name="T98" fmla="*/ 650 w 736"/>
              <a:gd name="T99" fmla="*/ 603 h 738"/>
              <a:gd name="T100" fmla="*/ 673 w 736"/>
              <a:gd name="T101" fmla="*/ 638 h 738"/>
              <a:gd name="T102" fmla="*/ 643 w 736"/>
              <a:gd name="T103" fmla="*/ 674 h 738"/>
              <a:gd name="T104" fmla="*/ 614 w 736"/>
              <a:gd name="T105" fmla="*/ 131 h 738"/>
              <a:gd name="T106" fmla="*/ 599 w 736"/>
              <a:gd name="T107" fmla="*/ 93 h 738"/>
              <a:gd name="T108" fmla="*/ 636 w 736"/>
              <a:gd name="T109" fmla="*/ 63 h 738"/>
              <a:gd name="T110" fmla="*/ 670 w 736"/>
              <a:gd name="T111" fmla="*/ 86 h 738"/>
              <a:gd name="T112" fmla="*/ 662 w 736"/>
              <a:gd name="T113" fmla="*/ 128 h 7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36" h="738">
                <a:moveTo>
                  <a:pt x="368" y="168"/>
                </a:moveTo>
                <a:lnTo>
                  <a:pt x="368" y="168"/>
                </a:lnTo>
                <a:lnTo>
                  <a:pt x="347" y="169"/>
                </a:lnTo>
                <a:lnTo>
                  <a:pt x="327" y="171"/>
                </a:lnTo>
                <a:lnTo>
                  <a:pt x="308" y="177"/>
                </a:lnTo>
                <a:lnTo>
                  <a:pt x="290" y="183"/>
                </a:lnTo>
                <a:lnTo>
                  <a:pt x="272" y="192"/>
                </a:lnTo>
                <a:lnTo>
                  <a:pt x="256" y="203"/>
                </a:lnTo>
                <a:lnTo>
                  <a:pt x="241" y="213"/>
                </a:lnTo>
                <a:lnTo>
                  <a:pt x="226" y="227"/>
                </a:lnTo>
                <a:lnTo>
                  <a:pt x="213" y="241"/>
                </a:lnTo>
                <a:lnTo>
                  <a:pt x="202" y="257"/>
                </a:lnTo>
                <a:lnTo>
                  <a:pt x="191" y="272"/>
                </a:lnTo>
                <a:lnTo>
                  <a:pt x="183" y="290"/>
                </a:lnTo>
                <a:lnTo>
                  <a:pt x="177" y="309"/>
                </a:lnTo>
                <a:lnTo>
                  <a:pt x="171" y="328"/>
                </a:lnTo>
                <a:lnTo>
                  <a:pt x="168" y="348"/>
                </a:lnTo>
                <a:lnTo>
                  <a:pt x="167" y="369"/>
                </a:lnTo>
                <a:lnTo>
                  <a:pt x="167" y="369"/>
                </a:lnTo>
                <a:lnTo>
                  <a:pt x="168" y="389"/>
                </a:lnTo>
                <a:lnTo>
                  <a:pt x="171" y="410"/>
                </a:lnTo>
                <a:lnTo>
                  <a:pt x="177" y="429"/>
                </a:lnTo>
                <a:lnTo>
                  <a:pt x="183" y="447"/>
                </a:lnTo>
                <a:lnTo>
                  <a:pt x="191" y="465"/>
                </a:lnTo>
                <a:lnTo>
                  <a:pt x="202" y="481"/>
                </a:lnTo>
                <a:lnTo>
                  <a:pt x="213" y="497"/>
                </a:lnTo>
                <a:lnTo>
                  <a:pt x="226" y="511"/>
                </a:lnTo>
                <a:lnTo>
                  <a:pt x="241" y="524"/>
                </a:lnTo>
                <a:lnTo>
                  <a:pt x="256" y="535"/>
                </a:lnTo>
                <a:lnTo>
                  <a:pt x="272" y="546"/>
                </a:lnTo>
                <a:lnTo>
                  <a:pt x="290" y="554"/>
                </a:lnTo>
                <a:lnTo>
                  <a:pt x="308" y="560"/>
                </a:lnTo>
                <a:lnTo>
                  <a:pt x="327" y="566"/>
                </a:lnTo>
                <a:lnTo>
                  <a:pt x="347" y="569"/>
                </a:lnTo>
                <a:lnTo>
                  <a:pt x="368" y="570"/>
                </a:lnTo>
                <a:lnTo>
                  <a:pt x="368" y="570"/>
                </a:lnTo>
                <a:lnTo>
                  <a:pt x="388" y="569"/>
                </a:lnTo>
                <a:lnTo>
                  <a:pt x="409" y="566"/>
                </a:lnTo>
                <a:lnTo>
                  <a:pt x="428" y="560"/>
                </a:lnTo>
                <a:lnTo>
                  <a:pt x="446" y="554"/>
                </a:lnTo>
                <a:lnTo>
                  <a:pt x="464" y="546"/>
                </a:lnTo>
                <a:lnTo>
                  <a:pt x="480" y="535"/>
                </a:lnTo>
                <a:lnTo>
                  <a:pt x="495" y="524"/>
                </a:lnTo>
                <a:lnTo>
                  <a:pt x="510" y="511"/>
                </a:lnTo>
                <a:lnTo>
                  <a:pt x="523" y="497"/>
                </a:lnTo>
                <a:lnTo>
                  <a:pt x="534" y="481"/>
                </a:lnTo>
                <a:lnTo>
                  <a:pt x="545" y="465"/>
                </a:lnTo>
                <a:lnTo>
                  <a:pt x="553" y="447"/>
                </a:lnTo>
                <a:lnTo>
                  <a:pt x="559" y="429"/>
                </a:lnTo>
                <a:lnTo>
                  <a:pt x="565" y="410"/>
                </a:lnTo>
                <a:lnTo>
                  <a:pt x="567" y="389"/>
                </a:lnTo>
                <a:lnTo>
                  <a:pt x="569" y="369"/>
                </a:lnTo>
                <a:lnTo>
                  <a:pt x="569" y="369"/>
                </a:lnTo>
                <a:lnTo>
                  <a:pt x="567" y="348"/>
                </a:lnTo>
                <a:lnTo>
                  <a:pt x="565" y="328"/>
                </a:lnTo>
                <a:lnTo>
                  <a:pt x="559" y="309"/>
                </a:lnTo>
                <a:lnTo>
                  <a:pt x="553" y="290"/>
                </a:lnTo>
                <a:lnTo>
                  <a:pt x="545" y="272"/>
                </a:lnTo>
                <a:lnTo>
                  <a:pt x="534" y="257"/>
                </a:lnTo>
                <a:lnTo>
                  <a:pt x="523" y="241"/>
                </a:lnTo>
                <a:lnTo>
                  <a:pt x="510" y="227"/>
                </a:lnTo>
                <a:lnTo>
                  <a:pt x="495" y="213"/>
                </a:lnTo>
                <a:lnTo>
                  <a:pt x="480" y="203"/>
                </a:lnTo>
                <a:lnTo>
                  <a:pt x="464" y="192"/>
                </a:lnTo>
                <a:lnTo>
                  <a:pt x="446" y="183"/>
                </a:lnTo>
                <a:lnTo>
                  <a:pt x="428" y="177"/>
                </a:lnTo>
                <a:lnTo>
                  <a:pt x="409" y="171"/>
                </a:lnTo>
                <a:lnTo>
                  <a:pt x="388" y="169"/>
                </a:lnTo>
                <a:lnTo>
                  <a:pt x="368" y="168"/>
                </a:lnTo>
                <a:lnTo>
                  <a:pt x="368" y="168"/>
                </a:lnTo>
                <a:close/>
                <a:moveTo>
                  <a:pt x="368" y="474"/>
                </a:moveTo>
                <a:lnTo>
                  <a:pt x="368" y="474"/>
                </a:lnTo>
                <a:lnTo>
                  <a:pt x="357" y="472"/>
                </a:lnTo>
                <a:lnTo>
                  <a:pt x="346" y="471"/>
                </a:lnTo>
                <a:lnTo>
                  <a:pt x="337" y="469"/>
                </a:lnTo>
                <a:lnTo>
                  <a:pt x="327" y="465"/>
                </a:lnTo>
                <a:lnTo>
                  <a:pt x="319" y="460"/>
                </a:lnTo>
                <a:lnTo>
                  <a:pt x="309" y="456"/>
                </a:lnTo>
                <a:lnTo>
                  <a:pt x="302" y="450"/>
                </a:lnTo>
                <a:lnTo>
                  <a:pt x="295" y="442"/>
                </a:lnTo>
                <a:lnTo>
                  <a:pt x="287" y="435"/>
                </a:lnTo>
                <a:lnTo>
                  <a:pt x="281" y="428"/>
                </a:lnTo>
                <a:lnTo>
                  <a:pt x="277" y="418"/>
                </a:lnTo>
                <a:lnTo>
                  <a:pt x="272" y="410"/>
                </a:lnTo>
                <a:lnTo>
                  <a:pt x="268" y="400"/>
                </a:lnTo>
                <a:lnTo>
                  <a:pt x="266" y="390"/>
                </a:lnTo>
                <a:lnTo>
                  <a:pt x="265" y="380"/>
                </a:lnTo>
                <a:lnTo>
                  <a:pt x="263" y="369"/>
                </a:lnTo>
                <a:lnTo>
                  <a:pt x="263" y="369"/>
                </a:lnTo>
                <a:lnTo>
                  <a:pt x="265" y="358"/>
                </a:lnTo>
                <a:lnTo>
                  <a:pt x="266" y="347"/>
                </a:lnTo>
                <a:lnTo>
                  <a:pt x="268" y="337"/>
                </a:lnTo>
                <a:lnTo>
                  <a:pt x="272" y="328"/>
                </a:lnTo>
                <a:lnTo>
                  <a:pt x="277" y="319"/>
                </a:lnTo>
                <a:lnTo>
                  <a:pt x="281" y="310"/>
                </a:lnTo>
                <a:lnTo>
                  <a:pt x="287" y="303"/>
                </a:lnTo>
                <a:lnTo>
                  <a:pt x="295" y="295"/>
                </a:lnTo>
                <a:lnTo>
                  <a:pt x="302" y="288"/>
                </a:lnTo>
                <a:lnTo>
                  <a:pt x="309" y="282"/>
                </a:lnTo>
                <a:lnTo>
                  <a:pt x="319" y="277"/>
                </a:lnTo>
                <a:lnTo>
                  <a:pt x="327" y="272"/>
                </a:lnTo>
                <a:lnTo>
                  <a:pt x="337" y="269"/>
                </a:lnTo>
                <a:lnTo>
                  <a:pt x="346" y="266"/>
                </a:lnTo>
                <a:lnTo>
                  <a:pt x="357" y="265"/>
                </a:lnTo>
                <a:lnTo>
                  <a:pt x="368" y="264"/>
                </a:lnTo>
                <a:lnTo>
                  <a:pt x="368" y="264"/>
                </a:lnTo>
                <a:lnTo>
                  <a:pt x="379" y="265"/>
                </a:lnTo>
                <a:lnTo>
                  <a:pt x="390" y="266"/>
                </a:lnTo>
                <a:lnTo>
                  <a:pt x="399" y="269"/>
                </a:lnTo>
                <a:lnTo>
                  <a:pt x="409" y="272"/>
                </a:lnTo>
                <a:lnTo>
                  <a:pt x="417" y="277"/>
                </a:lnTo>
                <a:lnTo>
                  <a:pt x="427" y="282"/>
                </a:lnTo>
                <a:lnTo>
                  <a:pt x="434" y="288"/>
                </a:lnTo>
                <a:lnTo>
                  <a:pt x="441" y="295"/>
                </a:lnTo>
                <a:lnTo>
                  <a:pt x="448" y="303"/>
                </a:lnTo>
                <a:lnTo>
                  <a:pt x="454" y="310"/>
                </a:lnTo>
                <a:lnTo>
                  <a:pt x="459" y="319"/>
                </a:lnTo>
                <a:lnTo>
                  <a:pt x="464" y="328"/>
                </a:lnTo>
                <a:lnTo>
                  <a:pt x="468" y="337"/>
                </a:lnTo>
                <a:lnTo>
                  <a:pt x="470" y="347"/>
                </a:lnTo>
                <a:lnTo>
                  <a:pt x="471" y="358"/>
                </a:lnTo>
                <a:lnTo>
                  <a:pt x="472" y="369"/>
                </a:lnTo>
                <a:lnTo>
                  <a:pt x="472" y="369"/>
                </a:lnTo>
                <a:lnTo>
                  <a:pt x="471" y="380"/>
                </a:lnTo>
                <a:lnTo>
                  <a:pt x="470" y="390"/>
                </a:lnTo>
                <a:lnTo>
                  <a:pt x="468" y="400"/>
                </a:lnTo>
                <a:lnTo>
                  <a:pt x="464" y="410"/>
                </a:lnTo>
                <a:lnTo>
                  <a:pt x="459" y="418"/>
                </a:lnTo>
                <a:lnTo>
                  <a:pt x="454" y="428"/>
                </a:lnTo>
                <a:lnTo>
                  <a:pt x="448" y="435"/>
                </a:lnTo>
                <a:lnTo>
                  <a:pt x="441" y="442"/>
                </a:lnTo>
                <a:lnTo>
                  <a:pt x="434" y="450"/>
                </a:lnTo>
                <a:lnTo>
                  <a:pt x="427" y="456"/>
                </a:lnTo>
                <a:lnTo>
                  <a:pt x="417" y="460"/>
                </a:lnTo>
                <a:lnTo>
                  <a:pt x="409" y="465"/>
                </a:lnTo>
                <a:lnTo>
                  <a:pt x="399" y="469"/>
                </a:lnTo>
                <a:lnTo>
                  <a:pt x="390" y="471"/>
                </a:lnTo>
                <a:lnTo>
                  <a:pt x="379" y="472"/>
                </a:lnTo>
                <a:lnTo>
                  <a:pt x="368" y="474"/>
                </a:lnTo>
                <a:lnTo>
                  <a:pt x="368" y="474"/>
                </a:lnTo>
                <a:close/>
                <a:moveTo>
                  <a:pt x="668" y="0"/>
                </a:moveTo>
                <a:lnTo>
                  <a:pt x="67" y="0"/>
                </a:lnTo>
                <a:lnTo>
                  <a:pt x="67" y="0"/>
                </a:lnTo>
                <a:lnTo>
                  <a:pt x="53" y="1"/>
                </a:lnTo>
                <a:lnTo>
                  <a:pt x="41" y="5"/>
                </a:lnTo>
                <a:lnTo>
                  <a:pt x="30" y="12"/>
                </a:lnTo>
                <a:lnTo>
                  <a:pt x="19" y="19"/>
                </a:lnTo>
                <a:lnTo>
                  <a:pt x="12" y="30"/>
                </a:lnTo>
                <a:lnTo>
                  <a:pt x="5" y="41"/>
                </a:lnTo>
                <a:lnTo>
                  <a:pt x="1" y="53"/>
                </a:lnTo>
                <a:lnTo>
                  <a:pt x="0" y="68"/>
                </a:lnTo>
                <a:lnTo>
                  <a:pt x="0" y="670"/>
                </a:lnTo>
                <a:lnTo>
                  <a:pt x="0" y="670"/>
                </a:lnTo>
                <a:lnTo>
                  <a:pt x="1" y="685"/>
                </a:lnTo>
                <a:lnTo>
                  <a:pt x="5" y="697"/>
                </a:lnTo>
                <a:lnTo>
                  <a:pt x="12" y="707"/>
                </a:lnTo>
                <a:lnTo>
                  <a:pt x="19" y="718"/>
                </a:lnTo>
                <a:lnTo>
                  <a:pt x="30" y="725"/>
                </a:lnTo>
                <a:lnTo>
                  <a:pt x="41" y="733"/>
                </a:lnTo>
                <a:lnTo>
                  <a:pt x="53" y="736"/>
                </a:lnTo>
                <a:lnTo>
                  <a:pt x="67" y="738"/>
                </a:lnTo>
                <a:lnTo>
                  <a:pt x="668" y="738"/>
                </a:lnTo>
                <a:lnTo>
                  <a:pt x="668" y="738"/>
                </a:lnTo>
                <a:lnTo>
                  <a:pt x="683" y="736"/>
                </a:lnTo>
                <a:lnTo>
                  <a:pt x="695" y="733"/>
                </a:lnTo>
                <a:lnTo>
                  <a:pt x="706" y="725"/>
                </a:lnTo>
                <a:lnTo>
                  <a:pt x="716" y="718"/>
                </a:lnTo>
                <a:lnTo>
                  <a:pt x="724" y="707"/>
                </a:lnTo>
                <a:lnTo>
                  <a:pt x="731" y="697"/>
                </a:lnTo>
                <a:lnTo>
                  <a:pt x="734" y="685"/>
                </a:lnTo>
                <a:lnTo>
                  <a:pt x="736" y="670"/>
                </a:lnTo>
                <a:lnTo>
                  <a:pt x="736" y="68"/>
                </a:lnTo>
                <a:lnTo>
                  <a:pt x="736" y="68"/>
                </a:lnTo>
                <a:lnTo>
                  <a:pt x="734" y="53"/>
                </a:lnTo>
                <a:lnTo>
                  <a:pt x="731" y="41"/>
                </a:lnTo>
                <a:lnTo>
                  <a:pt x="724" y="30"/>
                </a:lnTo>
                <a:lnTo>
                  <a:pt x="716" y="19"/>
                </a:lnTo>
                <a:lnTo>
                  <a:pt x="706" y="12"/>
                </a:lnTo>
                <a:lnTo>
                  <a:pt x="695" y="5"/>
                </a:lnTo>
                <a:lnTo>
                  <a:pt x="683" y="1"/>
                </a:lnTo>
                <a:lnTo>
                  <a:pt x="668" y="0"/>
                </a:lnTo>
                <a:lnTo>
                  <a:pt x="668" y="0"/>
                </a:lnTo>
                <a:close/>
                <a:moveTo>
                  <a:pt x="100" y="63"/>
                </a:moveTo>
                <a:lnTo>
                  <a:pt x="100" y="63"/>
                </a:lnTo>
                <a:lnTo>
                  <a:pt x="108" y="64"/>
                </a:lnTo>
                <a:lnTo>
                  <a:pt x="116" y="66"/>
                </a:lnTo>
                <a:lnTo>
                  <a:pt x="122" y="70"/>
                </a:lnTo>
                <a:lnTo>
                  <a:pt x="128" y="74"/>
                </a:lnTo>
                <a:lnTo>
                  <a:pt x="131" y="80"/>
                </a:lnTo>
                <a:lnTo>
                  <a:pt x="135" y="86"/>
                </a:lnTo>
                <a:lnTo>
                  <a:pt x="137" y="93"/>
                </a:lnTo>
                <a:lnTo>
                  <a:pt x="138" y="100"/>
                </a:lnTo>
                <a:lnTo>
                  <a:pt x="138" y="100"/>
                </a:lnTo>
                <a:lnTo>
                  <a:pt x="137" y="109"/>
                </a:lnTo>
                <a:lnTo>
                  <a:pt x="135" y="116"/>
                </a:lnTo>
                <a:lnTo>
                  <a:pt x="131" y="122"/>
                </a:lnTo>
                <a:lnTo>
                  <a:pt x="128" y="128"/>
                </a:lnTo>
                <a:lnTo>
                  <a:pt x="122" y="131"/>
                </a:lnTo>
                <a:lnTo>
                  <a:pt x="116" y="135"/>
                </a:lnTo>
                <a:lnTo>
                  <a:pt x="108" y="137"/>
                </a:lnTo>
                <a:lnTo>
                  <a:pt x="100" y="139"/>
                </a:lnTo>
                <a:lnTo>
                  <a:pt x="100" y="139"/>
                </a:lnTo>
                <a:lnTo>
                  <a:pt x="93" y="137"/>
                </a:lnTo>
                <a:lnTo>
                  <a:pt x="85" y="135"/>
                </a:lnTo>
                <a:lnTo>
                  <a:pt x="79" y="131"/>
                </a:lnTo>
                <a:lnTo>
                  <a:pt x="73" y="128"/>
                </a:lnTo>
                <a:lnTo>
                  <a:pt x="70" y="122"/>
                </a:lnTo>
                <a:lnTo>
                  <a:pt x="66" y="116"/>
                </a:lnTo>
                <a:lnTo>
                  <a:pt x="64" y="109"/>
                </a:lnTo>
                <a:lnTo>
                  <a:pt x="63" y="100"/>
                </a:lnTo>
                <a:lnTo>
                  <a:pt x="63" y="100"/>
                </a:lnTo>
                <a:lnTo>
                  <a:pt x="64" y="93"/>
                </a:lnTo>
                <a:lnTo>
                  <a:pt x="66" y="86"/>
                </a:lnTo>
                <a:lnTo>
                  <a:pt x="70" y="80"/>
                </a:lnTo>
                <a:lnTo>
                  <a:pt x="73" y="74"/>
                </a:lnTo>
                <a:lnTo>
                  <a:pt x="79" y="70"/>
                </a:lnTo>
                <a:lnTo>
                  <a:pt x="85" y="66"/>
                </a:lnTo>
                <a:lnTo>
                  <a:pt x="93" y="64"/>
                </a:lnTo>
                <a:lnTo>
                  <a:pt x="100" y="63"/>
                </a:lnTo>
                <a:lnTo>
                  <a:pt x="100" y="63"/>
                </a:lnTo>
                <a:close/>
                <a:moveTo>
                  <a:pt x="100" y="675"/>
                </a:moveTo>
                <a:lnTo>
                  <a:pt x="100" y="675"/>
                </a:lnTo>
                <a:lnTo>
                  <a:pt x="93" y="674"/>
                </a:lnTo>
                <a:lnTo>
                  <a:pt x="85" y="671"/>
                </a:lnTo>
                <a:lnTo>
                  <a:pt x="79" y="668"/>
                </a:lnTo>
                <a:lnTo>
                  <a:pt x="73" y="664"/>
                </a:lnTo>
                <a:lnTo>
                  <a:pt x="70" y="658"/>
                </a:lnTo>
                <a:lnTo>
                  <a:pt x="66" y="652"/>
                </a:lnTo>
                <a:lnTo>
                  <a:pt x="64" y="645"/>
                </a:lnTo>
                <a:lnTo>
                  <a:pt x="63" y="638"/>
                </a:lnTo>
                <a:lnTo>
                  <a:pt x="63" y="638"/>
                </a:lnTo>
                <a:lnTo>
                  <a:pt x="64" y="629"/>
                </a:lnTo>
                <a:lnTo>
                  <a:pt x="66" y="622"/>
                </a:lnTo>
                <a:lnTo>
                  <a:pt x="70" y="616"/>
                </a:lnTo>
                <a:lnTo>
                  <a:pt x="73" y="610"/>
                </a:lnTo>
                <a:lnTo>
                  <a:pt x="79" y="606"/>
                </a:lnTo>
                <a:lnTo>
                  <a:pt x="85" y="603"/>
                </a:lnTo>
                <a:lnTo>
                  <a:pt x="93" y="600"/>
                </a:lnTo>
                <a:lnTo>
                  <a:pt x="100" y="599"/>
                </a:lnTo>
                <a:lnTo>
                  <a:pt x="100" y="599"/>
                </a:lnTo>
                <a:lnTo>
                  <a:pt x="108" y="600"/>
                </a:lnTo>
                <a:lnTo>
                  <a:pt x="116" y="603"/>
                </a:lnTo>
                <a:lnTo>
                  <a:pt x="122" y="606"/>
                </a:lnTo>
                <a:lnTo>
                  <a:pt x="128" y="610"/>
                </a:lnTo>
                <a:lnTo>
                  <a:pt x="131" y="616"/>
                </a:lnTo>
                <a:lnTo>
                  <a:pt x="135" y="622"/>
                </a:lnTo>
                <a:lnTo>
                  <a:pt x="137" y="629"/>
                </a:lnTo>
                <a:lnTo>
                  <a:pt x="138" y="638"/>
                </a:lnTo>
                <a:lnTo>
                  <a:pt x="138" y="638"/>
                </a:lnTo>
                <a:lnTo>
                  <a:pt x="137" y="645"/>
                </a:lnTo>
                <a:lnTo>
                  <a:pt x="135" y="652"/>
                </a:lnTo>
                <a:lnTo>
                  <a:pt x="131" y="658"/>
                </a:lnTo>
                <a:lnTo>
                  <a:pt x="128" y="664"/>
                </a:lnTo>
                <a:lnTo>
                  <a:pt x="122" y="668"/>
                </a:lnTo>
                <a:lnTo>
                  <a:pt x="116" y="671"/>
                </a:lnTo>
                <a:lnTo>
                  <a:pt x="108" y="674"/>
                </a:lnTo>
                <a:lnTo>
                  <a:pt x="100" y="675"/>
                </a:lnTo>
                <a:lnTo>
                  <a:pt x="100" y="675"/>
                </a:lnTo>
                <a:close/>
                <a:moveTo>
                  <a:pt x="368" y="641"/>
                </a:moveTo>
                <a:lnTo>
                  <a:pt x="368" y="641"/>
                </a:lnTo>
                <a:lnTo>
                  <a:pt x="340" y="640"/>
                </a:lnTo>
                <a:lnTo>
                  <a:pt x="313" y="635"/>
                </a:lnTo>
                <a:lnTo>
                  <a:pt x="287" y="629"/>
                </a:lnTo>
                <a:lnTo>
                  <a:pt x="262" y="619"/>
                </a:lnTo>
                <a:lnTo>
                  <a:pt x="238" y="609"/>
                </a:lnTo>
                <a:lnTo>
                  <a:pt x="216" y="594"/>
                </a:lnTo>
                <a:lnTo>
                  <a:pt x="195" y="578"/>
                </a:lnTo>
                <a:lnTo>
                  <a:pt x="176" y="562"/>
                </a:lnTo>
                <a:lnTo>
                  <a:pt x="159" y="542"/>
                </a:lnTo>
                <a:lnTo>
                  <a:pt x="143" y="521"/>
                </a:lnTo>
                <a:lnTo>
                  <a:pt x="129" y="499"/>
                </a:lnTo>
                <a:lnTo>
                  <a:pt x="118" y="475"/>
                </a:lnTo>
                <a:lnTo>
                  <a:pt x="108" y="450"/>
                </a:lnTo>
                <a:lnTo>
                  <a:pt x="102" y="424"/>
                </a:lnTo>
                <a:lnTo>
                  <a:pt x="97" y="397"/>
                </a:lnTo>
                <a:lnTo>
                  <a:pt x="96" y="369"/>
                </a:lnTo>
                <a:lnTo>
                  <a:pt x="96" y="369"/>
                </a:lnTo>
                <a:lnTo>
                  <a:pt x="97" y="341"/>
                </a:lnTo>
                <a:lnTo>
                  <a:pt x="102" y="313"/>
                </a:lnTo>
                <a:lnTo>
                  <a:pt x="108" y="288"/>
                </a:lnTo>
                <a:lnTo>
                  <a:pt x="118" y="263"/>
                </a:lnTo>
                <a:lnTo>
                  <a:pt x="129" y="239"/>
                </a:lnTo>
                <a:lnTo>
                  <a:pt x="143" y="217"/>
                </a:lnTo>
                <a:lnTo>
                  <a:pt x="159" y="195"/>
                </a:lnTo>
                <a:lnTo>
                  <a:pt x="176" y="176"/>
                </a:lnTo>
                <a:lnTo>
                  <a:pt x="195" y="159"/>
                </a:lnTo>
                <a:lnTo>
                  <a:pt x="216" y="143"/>
                </a:lnTo>
                <a:lnTo>
                  <a:pt x="238" y="129"/>
                </a:lnTo>
                <a:lnTo>
                  <a:pt x="262" y="118"/>
                </a:lnTo>
                <a:lnTo>
                  <a:pt x="287" y="109"/>
                </a:lnTo>
                <a:lnTo>
                  <a:pt x="313" y="103"/>
                </a:lnTo>
                <a:lnTo>
                  <a:pt x="340" y="98"/>
                </a:lnTo>
                <a:lnTo>
                  <a:pt x="368" y="96"/>
                </a:lnTo>
                <a:lnTo>
                  <a:pt x="368" y="96"/>
                </a:lnTo>
                <a:lnTo>
                  <a:pt x="396" y="98"/>
                </a:lnTo>
                <a:lnTo>
                  <a:pt x="423" y="103"/>
                </a:lnTo>
                <a:lnTo>
                  <a:pt x="448" y="109"/>
                </a:lnTo>
                <a:lnTo>
                  <a:pt x="474" y="118"/>
                </a:lnTo>
                <a:lnTo>
                  <a:pt x="498" y="129"/>
                </a:lnTo>
                <a:lnTo>
                  <a:pt x="519" y="143"/>
                </a:lnTo>
                <a:lnTo>
                  <a:pt x="541" y="159"/>
                </a:lnTo>
                <a:lnTo>
                  <a:pt x="560" y="176"/>
                </a:lnTo>
                <a:lnTo>
                  <a:pt x="577" y="195"/>
                </a:lnTo>
                <a:lnTo>
                  <a:pt x="593" y="217"/>
                </a:lnTo>
                <a:lnTo>
                  <a:pt x="607" y="239"/>
                </a:lnTo>
                <a:lnTo>
                  <a:pt x="618" y="263"/>
                </a:lnTo>
                <a:lnTo>
                  <a:pt x="628" y="288"/>
                </a:lnTo>
                <a:lnTo>
                  <a:pt x="634" y="313"/>
                </a:lnTo>
                <a:lnTo>
                  <a:pt x="638" y="341"/>
                </a:lnTo>
                <a:lnTo>
                  <a:pt x="640" y="369"/>
                </a:lnTo>
                <a:lnTo>
                  <a:pt x="640" y="369"/>
                </a:lnTo>
                <a:lnTo>
                  <a:pt x="638" y="397"/>
                </a:lnTo>
                <a:lnTo>
                  <a:pt x="634" y="424"/>
                </a:lnTo>
                <a:lnTo>
                  <a:pt x="628" y="450"/>
                </a:lnTo>
                <a:lnTo>
                  <a:pt x="618" y="475"/>
                </a:lnTo>
                <a:lnTo>
                  <a:pt x="607" y="499"/>
                </a:lnTo>
                <a:lnTo>
                  <a:pt x="593" y="521"/>
                </a:lnTo>
                <a:lnTo>
                  <a:pt x="577" y="542"/>
                </a:lnTo>
                <a:lnTo>
                  <a:pt x="560" y="562"/>
                </a:lnTo>
                <a:lnTo>
                  <a:pt x="541" y="578"/>
                </a:lnTo>
                <a:lnTo>
                  <a:pt x="519" y="594"/>
                </a:lnTo>
                <a:lnTo>
                  <a:pt x="498" y="609"/>
                </a:lnTo>
                <a:lnTo>
                  <a:pt x="474" y="619"/>
                </a:lnTo>
                <a:lnTo>
                  <a:pt x="448" y="629"/>
                </a:lnTo>
                <a:lnTo>
                  <a:pt x="423" y="635"/>
                </a:lnTo>
                <a:lnTo>
                  <a:pt x="396" y="640"/>
                </a:lnTo>
                <a:lnTo>
                  <a:pt x="368" y="641"/>
                </a:lnTo>
                <a:lnTo>
                  <a:pt x="368" y="641"/>
                </a:lnTo>
                <a:close/>
                <a:moveTo>
                  <a:pt x="636" y="675"/>
                </a:moveTo>
                <a:lnTo>
                  <a:pt x="636" y="675"/>
                </a:lnTo>
                <a:lnTo>
                  <a:pt x="628" y="674"/>
                </a:lnTo>
                <a:lnTo>
                  <a:pt x="620" y="671"/>
                </a:lnTo>
                <a:lnTo>
                  <a:pt x="614" y="668"/>
                </a:lnTo>
                <a:lnTo>
                  <a:pt x="608" y="664"/>
                </a:lnTo>
                <a:lnTo>
                  <a:pt x="605" y="658"/>
                </a:lnTo>
                <a:lnTo>
                  <a:pt x="601" y="652"/>
                </a:lnTo>
                <a:lnTo>
                  <a:pt x="599" y="645"/>
                </a:lnTo>
                <a:lnTo>
                  <a:pt x="597" y="638"/>
                </a:lnTo>
                <a:lnTo>
                  <a:pt x="597" y="638"/>
                </a:lnTo>
                <a:lnTo>
                  <a:pt x="599" y="629"/>
                </a:lnTo>
                <a:lnTo>
                  <a:pt x="601" y="622"/>
                </a:lnTo>
                <a:lnTo>
                  <a:pt x="605" y="616"/>
                </a:lnTo>
                <a:lnTo>
                  <a:pt x="608" y="610"/>
                </a:lnTo>
                <a:lnTo>
                  <a:pt x="614" y="606"/>
                </a:lnTo>
                <a:lnTo>
                  <a:pt x="620" y="603"/>
                </a:lnTo>
                <a:lnTo>
                  <a:pt x="628" y="600"/>
                </a:lnTo>
                <a:lnTo>
                  <a:pt x="636" y="599"/>
                </a:lnTo>
                <a:lnTo>
                  <a:pt x="636" y="599"/>
                </a:lnTo>
                <a:lnTo>
                  <a:pt x="643" y="600"/>
                </a:lnTo>
                <a:lnTo>
                  <a:pt x="650" y="603"/>
                </a:lnTo>
                <a:lnTo>
                  <a:pt x="656" y="606"/>
                </a:lnTo>
                <a:lnTo>
                  <a:pt x="662" y="610"/>
                </a:lnTo>
                <a:lnTo>
                  <a:pt x="666" y="616"/>
                </a:lnTo>
                <a:lnTo>
                  <a:pt x="670" y="622"/>
                </a:lnTo>
                <a:lnTo>
                  <a:pt x="672" y="629"/>
                </a:lnTo>
                <a:lnTo>
                  <a:pt x="673" y="638"/>
                </a:lnTo>
                <a:lnTo>
                  <a:pt x="673" y="638"/>
                </a:lnTo>
                <a:lnTo>
                  <a:pt x="672" y="645"/>
                </a:lnTo>
                <a:lnTo>
                  <a:pt x="670" y="652"/>
                </a:lnTo>
                <a:lnTo>
                  <a:pt x="666" y="658"/>
                </a:lnTo>
                <a:lnTo>
                  <a:pt x="662" y="664"/>
                </a:lnTo>
                <a:lnTo>
                  <a:pt x="656" y="668"/>
                </a:lnTo>
                <a:lnTo>
                  <a:pt x="650" y="671"/>
                </a:lnTo>
                <a:lnTo>
                  <a:pt x="643" y="674"/>
                </a:lnTo>
                <a:lnTo>
                  <a:pt x="636" y="675"/>
                </a:lnTo>
                <a:lnTo>
                  <a:pt x="636" y="675"/>
                </a:lnTo>
                <a:close/>
                <a:moveTo>
                  <a:pt x="636" y="139"/>
                </a:moveTo>
                <a:lnTo>
                  <a:pt x="636" y="139"/>
                </a:lnTo>
                <a:lnTo>
                  <a:pt x="628" y="137"/>
                </a:lnTo>
                <a:lnTo>
                  <a:pt x="620" y="135"/>
                </a:lnTo>
                <a:lnTo>
                  <a:pt x="614" y="131"/>
                </a:lnTo>
                <a:lnTo>
                  <a:pt x="608" y="128"/>
                </a:lnTo>
                <a:lnTo>
                  <a:pt x="605" y="122"/>
                </a:lnTo>
                <a:lnTo>
                  <a:pt x="601" y="116"/>
                </a:lnTo>
                <a:lnTo>
                  <a:pt x="599" y="109"/>
                </a:lnTo>
                <a:lnTo>
                  <a:pt x="597" y="100"/>
                </a:lnTo>
                <a:lnTo>
                  <a:pt x="597" y="100"/>
                </a:lnTo>
                <a:lnTo>
                  <a:pt x="599" y="93"/>
                </a:lnTo>
                <a:lnTo>
                  <a:pt x="601" y="86"/>
                </a:lnTo>
                <a:lnTo>
                  <a:pt x="605" y="80"/>
                </a:lnTo>
                <a:lnTo>
                  <a:pt x="608" y="74"/>
                </a:lnTo>
                <a:lnTo>
                  <a:pt x="614" y="70"/>
                </a:lnTo>
                <a:lnTo>
                  <a:pt x="620" y="66"/>
                </a:lnTo>
                <a:lnTo>
                  <a:pt x="628" y="64"/>
                </a:lnTo>
                <a:lnTo>
                  <a:pt x="636" y="63"/>
                </a:lnTo>
                <a:lnTo>
                  <a:pt x="636" y="63"/>
                </a:lnTo>
                <a:lnTo>
                  <a:pt x="643" y="64"/>
                </a:lnTo>
                <a:lnTo>
                  <a:pt x="650" y="66"/>
                </a:lnTo>
                <a:lnTo>
                  <a:pt x="656" y="70"/>
                </a:lnTo>
                <a:lnTo>
                  <a:pt x="662" y="74"/>
                </a:lnTo>
                <a:lnTo>
                  <a:pt x="666" y="80"/>
                </a:lnTo>
                <a:lnTo>
                  <a:pt x="670" y="86"/>
                </a:lnTo>
                <a:lnTo>
                  <a:pt x="672" y="93"/>
                </a:lnTo>
                <a:lnTo>
                  <a:pt x="673" y="100"/>
                </a:lnTo>
                <a:lnTo>
                  <a:pt x="673" y="100"/>
                </a:lnTo>
                <a:lnTo>
                  <a:pt x="672" y="109"/>
                </a:lnTo>
                <a:lnTo>
                  <a:pt x="670" y="116"/>
                </a:lnTo>
                <a:lnTo>
                  <a:pt x="666" y="122"/>
                </a:lnTo>
                <a:lnTo>
                  <a:pt x="662" y="128"/>
                </a:lnTo>
                <a:lnTo>
                  <a:pt x="656" y="131"/>
                </a:lnTo>
                <a:lnTo>
                  <a:pt x="650" y="135"/>
                </a:lnTo>
                <a:lnTo>
                  <a:pt x="643" y="137"/>
                </a:lnTo>
                <a:lnTo>
                  <a:pt x="636" y="139"/>
                </a:lnTo>
                <a:lnTo>
                  <a:pt x="636" y="13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39" name="Freeform 8"/>
          <p:cNvSpPr>
            <a:spLocks noEditPoints="1"/>
          </p:cNvSpPr>
          <p:nvPr/>
        </p:nvSpPr>
        <p:spPr bwMode="auto">
          <a:xfrm>
            <a:off x="4024506" y="4442354"/>
            <a:ext cx="399743" cy="283450"/>
          </a:xfrm>
          <a:custGeom>
            <a:avLst/>
            <a:gdLst>
              <a:gd name="T0" fmla="*/ 747 w 1356"/>
              <a:gd name="T1" fmla="*/ 10 h 907"/>
              <a:gd name="T2" fmla="*/ 630 w 1356"/>
              <a:gd name="T3" fmla="*/ 1 h 907"/>
              <a:gd name="T4" fmla="*/ 574 w 1356"/>
              <a:gd name="T5" fmla="*/ 66 h 907"/>
              <a:gd name="T6" fmla="*/ 377 w 1356"/>
              <a:gd name="T7" fmla="*/ 100 h 907"/>
              <a:gd name="T8" fmla="*/ 187 w 1356"/>
              <a:gd name="T9" fmla="*/ 215 h 907"/>
              <a:gd name="T10" fmla="*/ 56 w 1356"/>
              <a:gd name="T11" fmla="*/ 391 h 907"/>
              <a:gd name="T12" fmla="*/ 0 w 1356"/>
              <a:gd name="T13" fmla="*/ 609 h 907"/>
              <a:gd name="T14" fmla="*/ 7 w 1356"/>
              <a:gd name="T15" fmla="*/ 829 h 907"/>
              <a:gd name="T16" fmla="*/ 50 w 1356"/>
              <a:gd name="T17" fmla="*/ 896 h 907"/>
              <a:gd name="T18" fmla="*/ 118 w 1356"/>
              <a:gd name="T19" fmla="*/ 904 h 907"/>
              <a:gd name="T20" fmla="*/ 284 w 1356"/>
              <a:gd name="T21" fmla="*/ 794 h 907"/>
              <a:gd name="T22" fmla="*/ 519 w 1356"/>
              <a:gd name="T23" fmla="*/ 629 h 907"/>
              <a:gd name="T24" fmla="*/ 678 w 1356"/>
              <a:gd name="T25" fmla="*/ 596 h 907"/>
              <a:gd name="T26" fmla="*/ 808 w 1356"/>
              <a:gd name="T27" fmla="*/ 618 h 907"/>
              <a:gd name="T28" fmla="*/ 1022 w 1356"/>
              <a:gd name="T29" fmla="*/ 752 h 907"/>
              <a:gd name="T30" fmla="*/ 1228 w 1356"/>
              <a:gd name="T31" fmla="*/ 901 h 907"/>
              <a:gd name="T32" fmla="*/ 1299 w 1356"/>
              <a:gd name="T33" fmla="*/ 899 h 907"/>
              <a:gd name="T34" fmla="*/ 1344 w 1356"/>
              <a:gd name="T35" fmla="*/ 841 h 907"/>
              <a:gd name="T36" fmla="*/ 1356 w 1356"/>
              <a:gd name="T37" fmla="*/ 639 h 907"/>
              <a:gd name="T38" fmla="*/ 1311 w 1356"/>
              <a:gd name="T39" fmla="*/ 416 h 907"/>
              <a:gd name="T40" fmla="*/ 1188 w 1356"/>
              <a:gd name="T41" fmla="*/ 233 h 907"/>
              <a:gd name="T42" fmla="*/ 1005 w 1356"/>
              <a:gd name="T43" fmla="*/ 111 h 907"/>
              <a:gd name="T44" fmla="*/ 782 w 1356"/>
              <a:gd name="T45" fmla="*/ 66 h 907"/>
              <a:gd name="T46" fmla="*/ 366 w 1356"/>
              <a:gd name="T47" fmla="*/ 515 h 907"/>
              <a:gd name="T48" fmla="*/ 338 w 1356"/>
              <a:gd name="T49" fmla="*/ 612 h 907"/>
              <a:gd name="T50" fmla="*/ 295 w 1356"/>
              <a:gd name="T51" fmla="*/ 606 h 907"/>
              <a:gd name="T52" fmla="*/ 265 w 1356"/>
              <a:gd name="T53" fmla="*/ 509 h 907"/>
              <a:gd name="T54" fmla="*/ 170 w 1356"/>
              <a:gd name="T55" fmla="*/ 478 h 907"/>
              <a:gd name="T56" fmla="*/ 143 w 1356"/>
              <a:gd name="T57" fmla="*/ 435 h 907"/>
              <a:gd name="T58" fmla="*/ 206 w 1356"/>
              <a:gd name="T59" fmla="*/ 394 h 907"/>
              <a:gd name="T60" fmla="*/ 274 w 1356"/>
              <a:gd name="T61" fmla="*/ 326 h 907"/>
              <a:gd name="T62" fmla="*/ 315 w 1356"/>
              <a:gd name="T63" fmla="*/ 263 h 907"/>
              <a:gd name="T64" fmla="*/ 358 w 1356"/>
              <a:gd name="T65" fmla="*/ 290 h 907"/>
              <a:gd name="T66" fmla="*/ 385 w 1356"/>
              <a:gd name="T67" fmla="*/ 388 h 907"/>
              <a:gd name="T68" fmla="*/ 487 w 1356"/>
              <a:gd name="T69" fmla="*/ 415 h 907"/>
              <a:gd name="T70" fmla="*/ 492 w 1356"/>
              <a:gd name="T71" fmla="*/ 458 h 907"/>
              <a:gd name="T72" fmla="*/ 908 w 1356"/>
              <a:gd name="T73" fmla="*/ 436 h 907"/>
              <a:gd name="T74" fmla="*/ 839 w 1356"/>
              <a:gd name="T75" fmla="*/ 457 h 907"/>
              <a:gd name="T76" fmla="*/ 805 w 1356"/>
              <a:gd name="T77" fmla="*/ 393 h 907"/>
              <a:gd name="T78" fmla="*/ 861 w 1356"/>
              <a:gd name="T79" fmla="*/ 348 h 907"/>
              <a:gd name="T80" fmla="*/ 917 w 1356"/>
              <a:gd name="T81" fmla="*/ 393 h 907"/>
              <a:gd name="T82" fmla="*/ 912 w 1356"/>
              <a:gd name="T83" fmla="*/ 230 h 907"/>
              <a:gd name="T84" fmla="*/ 983 w 1356"/>
              <a:gd name="T85" fmla="*/ 223 h 907"/>
              <a:gd name="T86" fmla="*/ 998 w 1356"/>
              <a:gd name="T87" fmla="*/ 302 h 907"/>
              <a:gd name="T88" fmla="*/ 930 w 1356"/>
              <a:gd name="T89" fmla="*/ 323 h 907"/>
              <a:gd name="T90" fmla="*/ 895 w 1356"/>
              <a:gd name="T91" fmla="*/ 259 h 907"/>
              <a:gd name="T92" fmla="*/ 1008 w 1356"/>
              <a:gd name="T93" fmla="*/ 541 h 907"/>
              <a:gd name="T94" fmla="*/ 939 w 1356"/>
              <a:gd name="T95" fmla="*/ 520 h 907"/>
              <a:gd name="T96" fmla="*/ 946 w 1356"/>
              <a:gd name="T97" fmla="*/ 448 h 907"/>
              <a:gd name="T98" fmla="*/ 1018 w 1356"/>
              <a:gd name="T99" fmla="*/ 442 h 907"/>
              <a:gd name="T100" fmla="*/ 1033 w 1356"/>
              <a:gd name="T101" fmla="*/ 521 h 907"/>
              <a:gd name="T102" fmla="*/ 1078 w 1356"/>
              <a:gd name="T103" fmla="*/ 412 h 907"/>
              <a:gd name="T104" fmla="*/ 1021 w 1356"/>
              <a:gd name="T105" fmla="*/ 365 h 907"/>
              <a:gd name="T106" fmla="*/ 1056 w 1356"/>
              <a:gd name="T107" fmla="*/ 302 h 907"/>
              <a:gd name="T108" fmla="*/ 1125 w 1356"/>
              <a:gd name="T109" fmla="*/ 324 h 907"/>
              <a:gd name="T110" fmla="*/ 1250 w 1356"/>
              <a:gd name="T111" fmla="*/ 471 h 907"/>
              <a:gd name="T112" fmla="*/ 1182 w 1356"/>
              <a:gd name="T113" fmla="*/ 492 h 907"/>
              <a:gd name="T114" fmla="*/ 1147 w 1356"/>
              <a:gd name="T115" fmla="*/ 428 h 907"/>
              <a:gd name="T116" fmla="*/ 1202 w 1356"/>
              <a:gd name="T117" fmla="*/ 382 h 907"/>
              <a:gd name="T118" fmla="*/ 1259 w 1356"/>
              <a:gd name="T119" fmla="*/ 428 h 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356" h="907">
                <a:moveTo>
                  <a:pt x="782" y="66"/>
                </a:moveTo>
                <a:lnTo>
                  <a:pt x="778" y="66"/>
                </a:lnTo>
                <a:lnTo>
                  <a:pt x="778" y="66"/>
                </a:lnTo>
                <a:lnTo>
                  <a:pt x="775" y="52"/>
                </a:lnTo>
                <a:lnTo>
                  <a:pt x="771" y="40"/>
                </a:lnTo>
                <a:lnTo>
                  <a:pt x="764" y="28"/>
                </a:lnTo>
                <a:lnTo>
                  <a:pt x="757" y="18"/>
                </a:lnTo>
                <a:lnTo>
                  <a:pt x="747" y="10"/>
                </a:lnTo>
                <a:lnTo>
                  <a:pt x="737" y="4"/>
                </a:lnTo>
                <a:lnTo>
                  <a:pt x="726" y="1"/>
                </a:lnTo>
                <a:lnTo>
                  <a:pt x="721" y="0"/>
                </a:lnTo>
                <a:lnTo>
                  <a:pt x="715" y="0"/>
                </a:lnTo>
                <a:lnTo>
                  <a:pt x="641" y="0"/>
                </a:lnTo>
                <a:lnTo>
                  <a:pt x="641" y="0"/>
                </a:lnTo>
                <a:lnTo>
                  <a:pt x="635" y="0"/>
                </a:lnTo>
                <a:lnTo>
                  <a:pt x="630" y="1"/>
                </a:lnTo>
                <a:lnTo>
                  <a:pt x="619" y="4"/>
                </a:lnTo>
                <a:lnTo>
                  <a:pt x="608" y="10"/>
                </a:lnTo>
                <a:lnTo>
                  <a:pt x="599" y="18"/>
                </a:lnTo>
                <a:lnTo>
                  <a:pt x="592" y="28"/>
                </a:lnTo>
                <a:lnTo>
                  <a:pt x="585" y="40"/>
                </a:lnTo>
                <a:lnTo>
                  <a:pt x="581" y="52"/>
                </a:lnTo>
                <a:lnTo>
                  <a:pt x="578" y="66"/>
                </a:lnTo>
                <a:lnTo>
                  <a:pt x="574" y="66"/>
                </a:lnTo>
                <a:lnTo>
                  <a:pt x="574" y="66"/>
                </a:lnTo>
                <a:lnTo>
                  <a:pt x="545" y="67"/>
                </a:lnTo>
                <a:lnTo>
                  <a:pt x="516" y="69"/>
                </a:lnTo>
                <a:lnTo>
                  <a:pt x="487" y="72"/>
                </a:lnTo>
                <a:lnTo>
                  <a:pt x="458" y="77"/>
                </a:lnTo>
                <a:lnTo>
                  <a:pt x="430" y="84"/>
                </a:lnTo>
                <a:lnTo>
                  <a:pt x="403" y="92"/>
                </a:lnTo>
                <a:lnTo>
                  <a:pt x="377" y="100"/>
                </a:lnTo>
                <a:lnTo>
                  <a:pt x="351" y="111"/>
                </a:lnTo>
                <a:lnTo>
                  <a:pt x="325" y="122"/>
                </a:lnTo>
                <a:lnTo>
                  <a:pt x="300" y="135"/>
                </a:lnTo>
                <a:lnTo>
                  <a:pt x="276" y="149"/>
                </a:lnTo>
                <a:lnTo>
                  <a:pt x="254" y="164"/>
                </a:lnTo>
                <a:lnTo>
                  <a:pt x="231" y="180"/>
                </a:lnTo>
                <a:lnTo>
                  <a:pt x="209" y="196"/>
                </a:lnTo>
                <a:lnTo>
                  <a:pt x="187" y="215"/>
                </a:lnTo>
                <a:lnTo>
                  <a:pt x="168" y="233"/>
                </a:lnTo>
                <a:lnTo>
                  <a:pt x="149" y="254"/>
                </a:lnTo>
                <a:lnTo>
                  <a:pt x="131" y="274"/>
                </a:lnTo>
                <a:lnTo>
                  <a:pt x="114" y="296"/>
                </a:lnTo>
                <a:lnTo>
                  <a:pt x="97" y="319"/>
                </a:lnTo>
                <a:lnTo>
                  <a:pt x="83" y="341"/>
                </a:lnTo>
                <a:lnTo>
                  <a:pt x="69" y="366"/>
                </a:lnTo>
                <a:lnTo>
                  <a:pt x="56" y="391"/>
                </a:lnTo>
                <a:lnTo>
                  <a:pt x="44" y="416"/>
                </a:lnTo>
                <a:lnTo>
                  <a:pt x="35" y="442"/>
                </a:lnTo>
                <a:lnTo>
                  <a:pt x="26" y="469"/>
                </a:lnTo>
                <a:lnTo>
                  <a:pt x="17" y="496"/>
                </a:lnTo>
                <a:lnTo>
                  <a:pt x="12" y="524"/>
                </a:lnTo>
                <a:lnTo>
                  <a:pt x="6" y="552"/>
                </a:lnTo>
                <a:lnTo>
                  <a:pt x="3" y="580"/>
                </a:lnTo>
                <a:lnTo>
                  <a:pt x="0" y="609"/>
                </a:lnTo>
                <a:lnTo>
                  <a:pt x="0" y="639"/>
                </a:lnTo>
                <a:lnTo>
                  <a:pt x="0" y="753"/>
                </a:lnTo>
                <a:lnTo>
                  <a:pt x="0" y="753"/>
                </a:lnTo>
                <a:lnTo>
                  <a:pt x="0" y="771"/>
                </a:lnTo>
                <a:lnTo>
                  <a:pt x="1" y="787"/>
                </a:lnTo>
                <a:lnTo>
                  <a:pt x="3" y="802"/>
                </a:lnTo>
                <a:lnTo>
                  <a:pt x="5" y="816"/>
                </a:lnTo>
                <a:lnTo>
                  <a:pt x="7" y="829"/>
                </a:lnTo>
                <a:lnTo>
                  <a:pt x="11" y="841"/>
                </a:lnTo>
                <a:lnTo>
                  <a:pt x="15" y="852"/>
                </a:lnTo>
                <a:lnTo>
                  <a:pt x="19" y="861"/>
                </a:lnTo>
                <a:lnTo>
                  <a:pt x="25" y="870"/>
                </a:lnTo>
                <a:lnTo>
                  <a:pt x="30" y="878"/>
                </a:lnTo>
                <a:lnTo>
                  <a:pt x="37" y="885"/>
                </a:lnTo>
                <a:lnTo>
                  <a:pt x="43" y="891"/>
                </a:lnTo>
                <a:lnTo>
                  <a:pt x="50" y="896"/>
                </a:lnTo>
                <a:lnTo>
                  <a:pt x="57" y="899"/>
                </a:lnTo>
                <a:lnTo>
                  <a:pt x="65" y="902"/>
                </a:lnTo>
                <a:lnTo>
                  <a:pt x="73" y="905"/>
                </a:lnTo>
                <a:lnTo>
                  <a:pt x="81" y="907"/>
                </a:lnTo>
                <a:lnTo>
                  <a:pt x="90" y="907"/>
                </a:lnTo>
                <a:lnTo>
                  <a:pt x="100" y="907"/>
                </a:lnTo>
                <a:lnTo>
                  <a:pt x="108" y="906"/>
                </a:lnTo>
                <a:lnTo>
                  <a:pt x="118" y="904"/>
                </a:lnTo>
                <a:lnTo>
                  <a:pt x="128" y="901"/>
                </a:lnTo>
                <a:lnTo>
                  <a:pt x="148" y="894"/>
                </a:lnTo>
                <a:lnTo>
                  <a:pt x="170" y="884"/>
                </a:lnTo>
                <a:lnTo>
                  <a:pt x="191" y="871"/>
                </a:lnTo>
                <a:lnTo>
                  <a:pt x="213" y="855"/>
                </a:lnTo>
                <a:lnTo>
                  <a:pt x="235" y="838"/>
                </a:lnTo>
                <a:lnTo>
                  <a:pt x="235" y="838"/>
                </a:lnTo>
                <a:lnTo>
                  <a:pt x="284" y="794"/>
                </a:lnTo>
                <a:lnTo>
                  <a:pt x="334" y="752"/>
                </a:lnTo>
                <a:lnTo>
                  <a:pt x="359" y="732"/>
                </a:lnTo>
                <a:lnTo>
                  <a:pt x="384" y="711"/>
                </a:lnTo>
                <a:lnTo>
                  <a:pt x="410" y="693"/>
                </a:lnTo>
                <a:lnTo>
                  <a:pt x="436" y="674"/>
                </a:lnTo>
                <a:lnTo>
                  <a:pt x="463" y="658"/>
                </a:lnTo>
                <a:lnTo>
                  <a:pt x="491" y="643"/>
                </a:lnTo>
                <a:lnTo>
                  <a:pt x="519" y="629"/>
                </a:lnTo>
                <a:lnTo>
                  <a:pt x="548" y="618"/>
                </a:lnTo>
                <a:lnTo>
                  <a:pt x="579" y="608"/>
                </a:lnTo>
                <a:lnTo>
                  <a:pt x="595" y="605"/>
                </a:lnTo>
                <a:lnTo>
                  <a:pt x="611" y="602"/>
                </a:lnTo>
                <a:lnTo>
                  <a:pt x="628" y="600"/>
                </a:lnTo>
                <a:lnTo>
                  <a:pt x="644" y="598"/>
                </a:lnTo>
                <a:lnTo>
                  <a:pt x="661" y="596"/>
                </a:lnTo>
                <a:lnTo>
                  <a:pt x="678" y="596"/>
                </a:lnTo>
                <a:lnTo>
                  <a:pt x="678" y="596"/>
                </a:lnTo>
                <a:lnTo>
                  <a:pt x="695" y="596"/>
                </a:lnTo>
                <a:lnTo>
                  <a:pt x="712" y="598"/>
                </a:lnTo>
                <a:lnTo>
                  <a:pt x="728" y="600"/>
                </a:lnTo>
                <a:lnTo>
                  <a:pt x="745" y="602"/>
                </a:lnTo>
                <a:lnTo>
                  <a:pt x="761" y="605"/>
                </a:lnTo>
                <a:lnTo>
                  <a:pt x="776" y="608"/>
                </a:lnTo>
                <a:lnTo>
                  <a:pt x="808" y="618"/>
                </a:lnTo>
                <a:lnTo>
                  <a:pt x="837" y="629"/>
                </a:lnTo>
                <a:lnTo>
                  <a:pt x="865" y="643"/>
                </a:lnTo>
                <a:lnTo>
                  <a:pt x="893" y="658"/>
                </a:lnTo>
                <a:lnTo>
                  <a:pt x="919" y="674"/>
                </a:lnTo>
                <a:lnTo>
                  <a:pt x="946" y="693"/>
                </a:lnTo>
                <a:lnTo>
                  <a:pt x="972" y="711"/>
                </a:lnTo>
                <a:lnTo>
                  <a:pt x="997" y="732"/>
                </a:lnTo>
                <a:lnTo>
                  <a:pt x="1022" y="752"/>
                </a:lnTo>
                <a:lnTo>
                  <a:pt x="1071" y="794"/>
                </a:lnTo>
                <a:lnTo>
                  <a:pt x="1121" y="838"/>
                </a:lnTo>
                <a:lnTo>
                  <a:pt x="1121" y="838"/>
                </a:lnTo>
                <a:lnTo>
                  <a:pt x="1143" y="855"/>
                </a:lnTo>
                <a:lnTo>
                  <a:pt x="1164" y="871"/>
                </a:lnTo>
                <a:lnTo>
                  <a:pt x="1186" y="884"/>
                </a:lnTo>
                <a:lnTo>
                  <a:pt x="1208" y="894"/>
                </a:lnTo>
                <a:lnTo>
                  <a:pt x="1228" y="901"/>
                </a:lnTo>
                <a:lnTo>
                  <a:pt x="1238" y="904"/>
                </a:lnTo>
                <a:lnTo>
                  <a:pt x="1248" y="906"/>
                </a:lnTo>
                <a:lnTo>
                  <a:pt x="1256" y="907"/>
                </a:lnTo>
                <a:lnTo>
                  <a:pt x="1266" y="907"/>
                </a:lnTo>
                <a:lnTo>
                  <a:pt x="1275" y="907"/>
                </a:lnTo>
                <a:lnTo>
                  <a:pt x="1283" y="905"/>
                </a:lnTo>
                <a:lnTo>
                  <a:pt x="1291" y="902"/>
                </a:lnTo>
                <a:lnTo>
                  <a:pt x="1299" y="899"/>
                </a:lnTo>
                <a:lnTo>
                  <a:pt x="1306" y="896"/>
                </a:lnTo>
                <a:lnTo>
                  <a:pt x="1313" y="891"/>
                </a:lnTo>
                <a:lnTo>
                  <a:pt x="1319" y="885"/>
                </a:lnTo>
                <a:lnTo>
                  <a:pt x="1326" y="878"/>
                </a:lnTo>
                <a:lnTo>
                  <a:pt x="1331" y="870"/>
                </a:lnTo>
                <a:lnTo>
                  <a:pt x="1337" y="861"/>
                </a:lnTo>
                <a:lnTo>
                  <a:pt x="1341" y="852"/>
                </a:lnTo>
                <a:lnTo>
                  <a:pt x="1344" y="841"/>
                </a:lnTo>
                <a:lnTo>
                  <a:pt x="1349" y="829"/>
                </a:lnTo>
                <a:lnTo>
                  <a:pt x="1351" y="816"/>
                </a:lnTo>
                <a:lnTo>
                  <a:pt x="1353" y="802"/>
                </a:lnTo>
                <a:lnTo>
                  <a:pt x="1355" y="787"/>
                </a:lnTo>
                <a:lnTo>
                  <a:pt x="1356" y="771"/>
                </a:lnTo>
                <a:lnTo>
                  <a:pt x="1356" y="753"/>
                </a:lnTo>
                <a:lnTo>
                  <a:pt x="1356" y="639"/>
                </a:lnTo>
                <a:lnTo>
                  <a:pt x="1356" y="639"/>
                </a:lnTo>
                <a:lnTo>
                  <a:pt x="1355" y="609"/>
                </a:lnTo>
                <a:lnTo>
                  <a:pt x="1353" y="580"/>
                </a:lnTo>
                <a:lnTo>
                  <a:pt x="1350" y="552"/>
                </a:lnTo>
                <a:lnTo>
                  <a:pt x="1344" y="524"/>
                </a:lnTo>
                <a:lnTo>
                  <a:pt x="1338" y="496"/>
                </a:lnTo>
                <a:lnTo>
                  <a:pt x="1330" y="469"/>
                </a:lnTo>
                <a:lnTo>
                  <a:pt x="1322" y="442"/>
                </a:lnTo>
                <a:lnTo>
                  <a:pt x="1311" y="416"/>
                </a:lnTo>
                <a:lnTo>
                  <a:pt x="1300" y="391"/>
                </a:lnTo>
                <a:lnTo>
                  <a:pt x="1287" y="366"/>
                </a:lnTo>
                <a:lnTo>
                  <a:pt x="1273" y="341"/>
                </a:lnTo>
                <a:lnTo>
                  <a:pt x="1259" y="319"/>
                </a:lnTo>
                <a:lnTo>
                  <a:pt x="1242" y="296"/>
                </a:lnTo>
                <a:lnTo>
                  <a:pt x="1225" y="274"/>
                </a:lnTo>
                <a:lnTo>
                  <a:pt x="1207" y="254"/>
                </a:lnTo>
                <a:lnTo>
                  <a:pt x="1188" y="233"/>
                </a:lnTo>
                <a:lnTo>
                  <a:pt x="1168" y="215"/>
                </a:lnTo>
                <a:lnTo>
                  <a:pt x="1147" y="196"/>
                </a:lnTo>
                <a:lnTo>
                  <a:pt x="1125" y="180"/>
                </a:lnTo>
                <a:lnTo>
                  <a:pt x="1103" y="164"/>
                </a:lnTo>
                <a:lnTo>
                  <a:pt x="1080" y="149"/>
                </a:lnTo>
                <a:lnTo>
                  <a:pt x="1056" y="135"/>
                </a:lnTo>
                <a:lnTo>
                  <a:pt x="1031" y="122"/>
                </a:lnTo>
                <a:lnTo>
                  <a:pt x="1005" y="111"/>
                </a:lnTo>
                <a:lnTo>
                  <a:pt x="979" y="100"/>
                </a:lnTo>
                <a:lnTo>
                  <a:pt x="953" y="92"/>
                </a:lnTo>
                <a:lnTo>
                  <a:pt x="925" y="84"/>
                </a:lnTo>
                <a:lnTo>
                  <a:pt x="898" y="77"/>
                </a:lnTo>
                <a:lnTo>
                  <a:pt x="869" y="72"/>
                </a:lnTo>
                <a:lnTo>
                  <a:pt x="840" y="69"/>
                </a:lnTo>
                <a:lnTo>
                  <a:pt x="811" y="67"/>
                </a:lnTo>
                <a:lnTo>
                  <a:pt x="782" y="66"/>
                </a:lnTo>
                <a:lnTo>
                  <a:pt x="782" y="66"/>
                </a:lnTo>
                <a:close/>
                <a:moveTo>
                  <a:pt x="434" y="486"/>
                </a:moveTo>
                <a:lnTo>
                  <a:pt x="393" y="486"/>
                </a:lnTo>
                <a:lnTo>
                  <a:pt x="393" y="486"/>
                </a:lnTo>
                <a:lnTo>
                  <a:pt x="388" y="495"/>
                </a:lnTo>
                <a:lnTo>
                  <a:pt x="382" y="502"/>
                </a:lnTo>
                <a:lnTo>
                  <a:pt x="374" y="509"/>
                </a:lnTo>
                <a:lnTo>
                  <a:pt x="366" y="515"/>
                </a:lnTo>
                <a:lnTo>
                  <a:pt x="366" y="553"/>
                </a:lnTo>
                <a:lnTo>
                  <a:pt x="366" y="553"/>
                </a:lnTo>
                <a:lnTo>
                  <a:pt x="365" y="566"/>
                </a:lnTo>
                <a:lnTo>
                  <a:pt x="362" y="578"/>
                </a:lnTo>
                <a:lnTo>
                  <a:pt x="358" y="589"/>
                </a:lnTo>
                <a:lnTo>
                  <a:pt x="352" y="599"/>
                </a:lnTo>
                <a:lnTo>
                  <a:pt x="346" y="606"/>
                </a:lnTo>
                <a:lnTo>
                  <a:pt x="338" y="612"/>
                </a:lnTo>
                <a:lnTo>
                  <a:pt x="329" y="616"/>
                </a:lnTo>
                <a:lnTo>
                  <a:pt x="325" y="617"/>
                </a:lnTo>
                <a:lnTo>
                  <a:pt x="320" y="617"/>
                </a:lnTo>
                <a:lnTo>
                  <a:pt x="320" y="617"/>
                </a:lnTo>
                <a:lnTo>
                  <a:pt x="315" y="617"/>
                </a:lnTo>
                <a:lnTo>
                  <a:pt x="311" y="616"/>
                </a:lnTo>
                <a:lnTo>
                  <a:pt x="302" y="612"/>
                </a:lnTo>
                <a:lnTo>
                  <a:pt x="295" y="606"/>
                </a:lnTo>
                <a:lnTo>
                  <a:pt x="287" y="599"/>
                </a:lnTo>
                <a:lnTo>
                  <a:pt x="282" y="589"/>
                </a:lnTo>
                <a:lnTo>
                  <a:pt x="277" y="578"/>
                </a:lnTo>
                <a:lnTo>
                  <a:pt x="275" y="566"/>
                </a:lnTo>
                <a:lnTo>
                  <a:pt x="274" y="553"/>
                </a:lnTo>
                <a:lnTo>
                  <a:pt x="274" y="515"/>
                </a:lnTo>
                <a:lnTo>
                  <a:pt x="274" y="515"/>
                </a:lnTo>
                <a:lnTo>
                  <a:pt x="265" y="509"/>
                </a:lnTo>
                <a:lnTo>
                  <a:pt x="258" y="502"/>
                </a:lnTo>
                <a:lnTo>
                  <a:pt x="251" y="495"/>
                </a:lnTo>
                <a:lnTo>
                  <a:pt x="246" y="486"/>
                </a:lnTo>
                <a:lnTo>
                  <a:pt x="206" y="486"/>
                </a:lnTo>
                <a:lnTo>
                  <a:pt x="206" y="486"/>
                </a:lnTo>
                <a:lnTo>
                  <a:pt x="193" y="485"/>
                </a:lnTo>
                <a:lnTo>
                  <a:pt x="181" y="482"/>
                </a:lnTo>
                <a:lnTo>
                  <a:pt x="170" y="478"/>
                </a:lnTo>
                <a:lnTo>
                  <a:pt x="161" y="472"/>
                </a:lnTo>
                <a:lnTo>
                  <a:pt x="153" y="466"/>
                </a:lnTo>
                <a:lnTo>
                  <a:pt x="147" y="458"/>
                </a:lnTo>
                <a:lnTo>
                  <a:pt x="144" y="449"/>
                </a:lnTo>
                <a:lnTo>
                  <a:pt x="143" y="445"/>
                </a:lnTo>
                <a:lnTo>
                  <a:pt x="142" y="440"/>
                </a:lnTo>
                <a:lnTo>
                  <a:pt x="142" y="440"/>
                </a:lnTo>
                <a:lnTo>
                  <a:pt x="143" y="435"/>
                </a:lnTo>
                <a:lnTo>
                  <a:pt x="144" y="431"/>
                </a:lnTo>
                <a:lnTo>
                  <a:pt x="147" y="422"/>
                </a:lnTo>
                <a:lnTo>
                  <a:pt x="153" y="415"/>
                </a:lnTo>
                <a:lnTo>
                  <a:pt x="161" y="407"/>
                </a:lnTo>
                <a:lnTo>
                  <a:pt x="170" y="402"/>
                </a:lnTo>
                <a:lnTo>
                  <a:pt x="181" y="398"/>
                </a:lnTo>
                <a:lnTo>
                  <a:pt x="193" y="395"/>
                </a:lnTo>
                <a:lnTo>
                  <a:pt x="206" y="394"/>
                </a:lnTo>
                <a:lnTo>
                  <a:pt x="250" y="394"/>
                </a:lnTo>
                <a:lnTo>
                  <a:pt x="250" y="394"/>
                </a:lnTo>
                <a:lnTo>
                  <a:pt x="256" y="388"/>
                </a:lnTo>
                <a:lnTo>
                  <a:pt x="261" y="382"/>
                </a:lnTo>
                <a:lnTo>
                  <a:pt x="268" y="377"/>
                </a:lnTo>
                <a:lnTo>
                  <a:pt x="274" y="372"/>
                </a:lnTo>
                <a:lnTo>
                  <a:pt x="274" y="326"/>
                </a:lnTo>
                <a:lnTo>
                  <a:pt x="274" y="326"/>
                </a:lnTo>
                <a:lnTo>
                  <a:pt x="275" y="313"/>
                </a:lnTo>
                <a:lnTo>
                  <a:pt x="277" y="301"/>
                </a:lnTo>
                <a:lnTo>
                  <a:pt x="282" y="290"/>
                </a:lnTo>
                <a:lnTo>
                  <a:pt x="287" y="282"/>
                </a:lnTo>
                <a:lnTo>
                  <a:pt x="295" y="274"/>
                </a:lnTo>
                <a:lnTo>
                  <a:pt x="302" y="268"/>
                </a:lnTo>
                <a:lnTo>
                  <a:pt x="311" y="265"/>
                </a:lnTo>
                <a:lnTo>
                  <a:pt x="315" y="263"/>
                </a:lnTo>
                <a:lnTo>
                  <a:pt x="320" y="262"/>
                </a:lnTo>
                <a:lnTo>
                  <a:pt x="320" y="262"/>
                </a:lnTo>
                <a:lnTo>
                  <a:pt x="325" y="263"/>
                </a:lnTo>
                <a:lnTo>
                  <a:pt x="329" y="265"/>
                </a:lnTo>
                <a:lnTo>
                  <a:pt x="338" y="268"/>
                </a:lnTo>
                <a:lnTo>
                  <a:pt x="346" y="274"/>
                </a:lnTo>
                <a:lnTo>
                  <a:pt x="352" y="282"/>
                </a:lnTo>
                <a:lnTo>
                  <a:pt x="358" y="290"/>
                </a:lnTo>
                <a:lnTo>
                  <a:pt x="362" y="301"/>
                </a:lnTo>
                <a:lnTo>
                  <a:pt x="365" y="313"/>
                </a:lnTo>
                <a:lnTo>
                  <a:pt x="366" y="326"/>
                </a:lnTo>
                <a:lnTo>
                  <a:pt x="366" y="372"/>
                </a:lnTo>
                <a:lnTo>
                  <a:pt x="366" y="372"/>
                </a:lnTo>
                <a:lnTo>
                  <a:pt x="373" y="377"/>
                </a:lnTo>
                <a:lnTo>
                  <a:pt x="378" y="382"/>
                </a:lnTo>
                <a:lnTo>
                  <a:pt x="385" y="388"/>
                </a:lnTo>
                <a:lnTo>
                  <a:pt x="389" y="394"/>
                </a:lnTo>
                <a:lnTo>
                  <a:pt x="434" y="394"/>
                </a:lnTo>
                <a:lnTo>
                  <a:pt x="434" y="394"/>
                </a:lnTo>
                <a:lnTo>
                  <a:pt x="447" y="395"/>
                </a:lnTo>
                <a:lnTo>
                  <a:pt x="458" y="398"/>
                </a:lnTo>
                <a:lnTo>
                  <a:pt x="469" y="402"/>
                </a:lnTo>
                <a:lnTo>
                  <a:pt x="479" y="407"/>
                </a:lnTo>
                <a:lnTo>
                  <a:pt x="487" y="415"/>
                </a:lnTo>
                <a:lnTo>
                  <a:pt x="492" y="422"/>
                </a:lnTo>
                <a:lnTo>
                  <a:pt x="496" y="431"/>
                </a:lnTo>
                <a:lnTo>
                  <a:pt x="498" y="435"/>
                </a:lnTo>
                <a:lnTo>
                  <a:pt x="498" y="440"/>
                </a:lnTo>
                <a:lnTo>
                  <a:pt x="498" y="440"/>
                </a:lnTo>
                <a:lnTo>
                  <a:pt x="498" y="445"/>
                </a:lnTo>
                <a:lnTo>
                  <a:pt x="496" y="449"/>
                </a:lnTo>
                <a:lnTo>
                  <a:pt x="492" y="458"/>
                </a:lnTo>
                <a:lnTo>
                  <a:pt x="487" y="466"/>
                </a:lnTo>
                <a:lnTo>
                  <a:pt x="479" y="472"/>
                </a:lnTo>
                <a:lnTo>
                  <a:pt x="469" y="478"/>
                </a:lnTo>
                <a:lnTo>
                  <a:pt x="458" y="482"/>
                </a:lnTo>
                <a:lnTo>
                  <a:pt x="447" y="485"/>
                </a:lnTo>
                <a:lnTo>
                  <a:pt x="434" y="486"/>
                </a:lnTo>
                <a:lnTo>
                  <a:pt x="434" y="486"/>
                </a:lnTo>
                <a:close/>
                <a:moveTo>
                  <a:pt x="908" y="436"/>
                </a:moveTo>
                <a:lnTo>
                  <a:pt x="908" y="436"/>
                </a:lnTo>
                <a:lnTo>
                  <a:pt x="901" y="445"/>
                </a:lnTo>
                <a:lnTo>
                  <a:pt x="892" y="452"/>
                </a:lnTo>
                <a:lnTo>
                  <a:pt x="882" y="457"/>
                </a:lnTo>
                <a:lnTo>
                  <a:pt x="872" y="460"/>
                </a:lnTo>
                <a:lnTo>
                  <a:pt x="861" y="461"/>
                </a:lnTo>
                <a:lnTo>
                  <a:pt x="850" y="460"/>
                </a:lnTo>
                <a:lnTo>
                  <a:pt x="839" y="457"/>
                </a:lnTo>
                <a:lnTo>
                  <a:pt x="829" y="452"/>
                </a:lnTo>
                <a:lnTo>
                  <a:pt x="829" y="452"/>
                </a:lnTo>
                <a:lnTo>
                  <a:pt x="821" y="444"/>
                </a:lnTo>
                <a:lnTo>
                  <a:pt x="813" y="435"/>
                </a:lnTo>
                <a:lnTo>
                  <a:pt x="809" y="426"/>
                </a:lnTo>
                <a:lnTo>
                  <a:pt x="805" y="416"/>
                </a:lnTo>
                <a:lnTo>
                  <a:pt x="804" y="405"/>
                </a:lnTo>
                <a:lnTo>
                  <a:pt x="805" y="393"/>
                </a:lnTo>
                <a:lnTo>
                  <a:pt x="809" y="383"/>
                </a:lnTo>
                <a:lnTo>
                  <a:pt x="814" y="373"/>
                </a:lnTo>
                <a:lnTo>
                  <a:pt x="814" y="373"/>
                </a:lnTo>
                <a:lnTo>
                  <a:pt x="822" y="364"/>
                </a:lnTo>
                <a:lnTo>
                  <a:pt x="830" y="358"/>
                </a:lnTo>
                <a:lnTo>
                  <a:pt x="840" y="352"/>
                </a:lnTo>
                <a:lnTo>
                  <a:pt x="850" y="349"/>
                </a:lnTo>
                <a:lnTo>
                  <a:pt x="861" y="348"/>
                </a:lnTo>
                <a:lnTo>
                  <a:pt x="872" y="349"/>
                </a:lnTo>
                <a:lnTo>
                  <a:pt x="882" y="352"/>
                </a:lnTo>
                <a:lnTo>
                  <a:pt x="892" y="358"/>
                </a:lnTo>
                <a:lnTo>
                  <a:pt x="892" y="358"/>
                </a:lnTo>
                <a:lnTo>
                  <a:pt x="902" y="365"/>
                </a:lnTo>
                <a:lnTo>
                  <a:pt x="908" y="374"/>
                </a:lnTo>
                <a:lnTo>
                  <a:pt x="914" y="383"/>
                </a:lnTo>
                <a:lnTo>
                  <a:pt x="917" y="393"/>
                </a:lnTo>
                <a:lnTo>
                  <a:pt x="918" y="405"/>
                </a:lnTo>
                <a:lnTo>
                  <a:pt x="917" y="416"/>
                </a:lnTo>
                <a:lnTo>
                  <a:pt x="914" y="426"/>
                </a:lnTo>
                <a:lnTo>
                  <a:pt x="908" y="436"/>
                </a:lnTo>
                <a:lnTo>
                  <a:pt x="908" y="436"/>
                </a:lnTo>
                <a:close/>
                <a:moveTo>
                  <a:pt x="904" y="239"/>
                </a:moveTo>
                <a:lnTo>
                  <a:pt x="904" y="239"/>
                </a:lnTo>
                <a:lnTo>
                  <a:pt x="912" y="230"/>
                </a:lnTo>
                <a:lnTo>
                  <a:pt x="920" y="222"/>
                </a:lnTo>
                <a:lnTo>
                  <a:pt x="930" y="218"/>
                </a:lnTo>
                <a:lnTo>
                  <a:pt x="941" y="215"/>
                </a:lnTo>
                <a:lnTo>
                  <a:pt x="952" y="214"/>
                </a:lnTo>
                <a:lnTo>
                  <a:pt x="963" y="215"/>
                </a:lnTo>
                <a:lnTo>
                  <a:pt x="973" y="218"/>
                </a:lnTo>
                <a:lnTo>
                  <a:pt x="983" y="223"/>
                </a:lnTo>
                <a:lnTo>
                  <a:pt x="983" y="223"/>
                </a:lnTo>
                <a:lnTo>
                  <a:pt x="992" y="231"/>
                </a:lnTo>
                <a:lnTo>
                  <a:pt x="1000" y="240"/>
                </a:lnTo>
                <a:lnTo>
                  <a:pt x="1004" y="249"/>
                </a:lnTo>
                <a:lnTo>
                  <a:pt x="1007" y="259"/>
                </a:lnTo>
                <a:lnTo>
                  <a:pt x="1008" y="270"/>
                </a:lnTo>
                <a:lnTo>
                  <a:pt x="1007" y="281"/>
                </a:lnTo>
                <a:lnTo>
                  <a:pt x="1004" y="292"/>
                </a:lnTo>
                <a:lnTo>
                  <a:pt x="998" y="302"/>
                </a:lnTo>
                <a:lnTo>
                  <a:pt x="998" y="302"/>
                </a:lnTo>
                <a:lnTo>
                  <a:pt x="991" y="311"/>
                </a:lnTo>
                <a:lnTo>
                  <a:pt x="982" y="318"/>
                </a:lnTo>
                <a:lnTo>
                  <a:pt x="972" y="323"/>
                </a:lnTo>
                <a:lnTo>
                  <a:pt x="963" y="326"/>
                </a:lnTo>
                <a:lnTo>
                  <a:pt x="952" y="327"/>
                </a:lnTo>
                <a:lnTo>
                  <a:pt x="941" y="326"/>
                </a:lnTo>
                <a:lnTo>
                  <a:pt x="930" y="323"/>
                </a:lnTo>
                <a:lnTo>
                  <a:pt x="920" y="318"/>
                </a:lnTo>
                <a:lnTo>
                  <a:pt x="920" y="318"/>
                </a:lnTo>
                <a:lnTo>
                  <a:pt x="911" y="310"/>
                </a:lnTo>
                <a:lnTo>
                  <a:pt x="904" y="301"/>
                </a:lnTo>
                <a:lnTo>
                  <a:pt x="899" y="292"/>
                </a:lnTo>
                <a:lnTo>
                  <a:pt x="895" y="281"/>
                </a:lnTo>
                <a:lnTo>
                  <a:pt x="894" y="270"/>
                </a:lnTo>
                <a:lnTo>
                  <a:pt x="895" y="259"/>
                </a:lnTo>
                <a:lnTo>
                  <a:pt x="899" y="248"/>
                </a:lnTo>
                <a:lnTo>
                  <a:pt x="904" y="239"/>
                </a:lnTo>
                <a:lnTo>
                  <a:pt x="904" y="239"/>
                </a:lnTo>
                <a:close/>
                <a:moveTo>
                  <a:pt x="1033" y="521"/>
                </a:moveTo>
                <a:lnTo>
                  <a:pt x="1033" y="521"/>
                </a:lnTo>
                <a:lnTo>
                  <a:pt x="1027" y="529"/>
                </a:lnTo>
                <a:lnTo>
                  <a:pt x="1018" y="536"/>
                </a:lnTo>
                <a:lnTo>
                  <a:pt x="1008" y="541"/>
                </a:lnTo>
                <a:lnTo>
                  <a:pt x="997" y="545"/>
                </a:lnTo>
                <a:lnTo>
                  <a:pt x="987" y="546"/>
                </a:lnTo>
                <a:lnTo>
                  <a:pt x="976" y="545"/>
                </a:lnTo>
                <a:lnTo>
                  <a:pt x="965" y="541"/>
                </a:lnTo>
                <a:lnTo>
                  <a:pt x="955" y="536"/>
                </a:lnTo>
                <a:lnTo>
                  <a:pt x="955" y="536"/>
                </a:lnTo>
                <a:lnTo>
                  <a:pt x="946" y="528"/>
                </a:lnTo>
                <a:lnTo>
                  <a:pt x="939" y="520"/>
                </a:lnTo>
                <a:lnTo>
                  <a:pt x="933" y="510"/>
                </a:lnTo>
                <a:lnTo>
                  <a:pt x="931" y="500"/>
                </a:lnTo>
                <a:lnTo>
                  <a:pt x="930" y="489"/>
                </a:lnTo>
                <a:lnTo>
                  <a:pt x="931" y="479"/>
                </a:lnTo>
                <a:lnTo>
                  <a:pt x="934" y="468"/>
                </a:lnTo>
                <a:lnTo>
                  <a:pt x="940" y="457"/>
                </a:lnTo>
                <a:lnTo>
                  <a:pt x="940" y="457"/>
                </a:lnTo>
                <a:lnTo>
                  <a:pt x="946" y="448"/>
                </a:lnTo>
                <a:lnTo>
                  <a:pt x="955" y="442"/>
                </a:lnTo>
                <a:lnTo>
                  <a:pt x="965" y="436"/>
                </a:lnTo>
                <a:lnTo>
                  <a:pt x="976" y="433"/>
                </a:lnTo>
                <a:lnTo>
                  <a:pt x="987" y="432"/>
                </a:lnTo>
                <a:lnTo>
                  <a:pt x="997" y="433"/>
                </a:lnTo>
                <a:lnTo>
                  <a:pt x="1008" y="436"/>
                </a:lnTo>
                <a:lnTo>
                  <a:pt x="1018" y="442"/>
                </a:lnTo>
                <a:lnTo>
                  <a:pt x="1018" y="442"/>
                </a:lnTo>
                <a:lnTo>
                  <a:pt x="1027" y="449"/>
                </a:lnTo>
                <a:lnTo>
                  <a:pt x="1034" y="458"/>
                </a:lnTo>
                <a:lnTo>
                  <a:pt x="1040" y="468"/>
                </a:lnTo>
                <a:lnTo>
                  <a:pt x="1042" y="479"/>
                </a:lnTo>
                <a:lnTo>
                  <a:pt x="1043" y="489"/>
                </a:lnTo>
                <a:lnTo>
                  <a:pt x="1042" y="500"/>
                </a:lnTo>
                <a:lnTo>
                  <a:pt x="1039" y="510"/>
                </a:lnTo>
                <a:lnTo>
                  <a:pt x="1033" y="521"/>
                </a:lnTo>
                <a:lnTo>
                  <a:pt x="1033" y="521"/>
                </a:lnTo>
                <a:close/>
                <a:moveTo>
                  <a:pt x="1124" y="387"/>
                </a:moveTo>
                <a:lnTo>
                  <a:pt x="1124" y="387"/>
                </a:lnTo>
                <a:lnTo>
                  <a:pt x="1117" y="395"/>
                </a:lnTo>
                <a:lnTo>
                  <a:pt x="1108" y="402"/>
                </a:lnTo>
                <a:lnTo>
                  <a:pt x="1098" y="407"/>
                </a:lnTo>
                <a:lnTo>
                  <a:pt x="1088" y="410"/>
                </a:lnTo>
                <a:lnTo>
                  <a:pt x="1078" y="412"/>
                </a:lnTo>
                <a:lnTo>
                  <a:pt x="1067" y="410"/>
                </a:lnTo>
                <a:lnTo>
                  <a:pt x="1056" y="407"/>
                </a:lnTo>
                <a:lnTo>
                  <a:pt x="1045" y="402"/>
                </a:lnTo>
                <a:lnTo>
                  <a:pt x="1045" y="402"/>
                </a:lnTo>
                <a:lnTo>
                  <a:pt x="1036" y="394"/>
                </a:lnTo>
                <a:lnTo>
                  <a:pt x="1030" y="386"/>
                </a:lnTo>
                <a:lnTo>
                  <a:pt x="1024" y="376"/>
                </a:lnTo>
                <a:lnTo>
                  <a:pt x="1021" y="365"/>
                </a:lnTo>
                <a:lnTo>
                  <a:pt x="1020" y="354"/>
                </a:lnTo>
                <a:lnTo>
                  <a:pt x="1021" y="343"/>
                </a:lnTo>
                <a:lnTo>
                  <a:pt x="1024" y="334"/>
                </a:lnTo>
                <a:lnTo>
                  <a:pt x="1030" y="323"/>
                </a:lnTo>
                <a:lnTo>
                  <a:pt x="1030" y="323"/>
                </a:lnTo>
                <a:lnTo>
                  <a:pt x="1037" y="314"/>
                </a:lnTo>
                <a:lnTo>
                  <a:pt x="1046" y="308"/>
                </a:lnTo>
                <a:lnTo>
                  <a:pt x="1056" y="302"/>
                </a:lnTo>
                <a:lnTo>
                  <a:pt x="1067" y="299"/>
                </a:lnTo>
                <a:lnTo>
                  <a:pt x="1078" y="298"/>
                </a:lnTo>
                <a:lnTo>
                  <a:pt x="1088" y="299"/>
                </a:lnTo>
                <a:lnTo>
                  <a:pt x="1099" y="302"/>
                </a:lnTo>
                <a:lnTo>
                  <a:pt x="1109" y="308"/>
                </a:lnTo>
                <a:lnTo>
                  <a:pt x="1109" y="308"/>
                </a:lnTo>
                <a:lnTo>
                  <a:pt x="1118" y="315"/>
                </a:lnTo>
                <a:lnTo>
                  <a:pt x="1125" y="324"/>
                </a:lnTo>
                <a:lnTo>
                  <a:pt x="1130" y="334"/>
                </a:lnTo>
                <a:lnTo>
                  <a:pt x="1133" y="343"/>
                </a:lnTo>
                <a:lnTo>
                  <a:pt x="1134" y="354"/>
                </a:lnTo>
                <a:lnTo>
                  <a:pt x="1133" y="366"/>
                </a:lnTo>
                <a:lnTo>
                  <a:pt x="1130" y="376"/>
                </a:lnTo>
                <a:lnTo>
                  <a:pt x="1124" y="387"/>
                </a:lnTo>
                <a:lnTo>
                  <a:pt x="1124" y="387"/>
                </a:lnTo>
                <a:close/>
                <a:moveTo>
                  <a:pt x="1250" y="471"/>
                </a:moveTo>
                <a:lnTo>
                  <a:pt x="1250" y="471"/>
                </a:lnTo>
                <a:lnTo>
                  <a:pt x="1242" y="480"/>
                </a:lnTo>
                <a:lnTo>
                  <a:pt x="1234" y="486"/>
                </a:lnTo>
                <a:lnTo>
                  <a:pt x="1224" y="492"/>
                </a:lnTo>
                <a:lnTo>
                  <a:pt x="1214" y="495"/>
                </a:lnTo>
                <a:lnTo>
                  <a:pt x="1203" y="496"/>
                </a:lnTo>
                <a:lnTo>
                  <a:pt x="1191" y="495"/>
                </a:lnTo>
                <a:lnTo>
                  <a:pt x="1182" y="492"/>
                </a:lnTo>
                <a:lnTo>
                  <a:pt x="1171" y="486"/>
                </a:lnTo>
                <a:lnTo>
                  <a:pt x="1171" y="486"/>
                </a:lnTo>
                <a:lnTo>
                  <a:pt x="1162" y="479"/>
                </a:lnTo>
                <a:lnTo>
                  <a:pt x="1156" y="470"/>
                </a:lnTo>
                <a:lnTo>
                  <a:pt x="1150" y="460"/>
                </a:lnTo>
                <a:lnTo>
                  <a:pt x="1147" y="451"/>
                </a:lnTo>
                <a:lnTo>
                  <a:pt x="1146" y="440"/>
                </a:lnTo>
                <a:lnTo>
                  <a:pt x="1147" y="428"/>
                </a:lnTo>
                <a:lnTo>
                  <a:pt x="1150" y="418"/>
                </a:lnTo>
                <a:lnTo>
                  <a:pt x="1156" y="407"/>
                </a:lnTo>
                <a:lnTo>
                  <a:pt x="1156" y="407"/>
                </a:lnTo>
                <a:lnTo>
                  <a:pt x="1163" y="399"/>
                </a:lnTo>
                <a:lnTo>
                  <a:pt x="1172" y="392"/>
                </a:lnTo>
                <a:lnTo>
                  <a:pt x="1182" y="387"/>
                </a:lnTo>
                <a:lnTo>
                  <a:pt x="1191" y="383"/>
                </a:lnTo>
                <a:lnTo>
                  <a:pt x="1202" y="382"/>
                </a:lnTo>
                <a:lnTo>
                  <a:pt x="1214" y="383"/>
                </a:lnTo>
                <a:lnTo>
                  <a:pt x="1224" y="387"/>
                </a:lnTo>
                <a:lnTo>
                  <a:pt x="1235" y="392"/>
                </a:lnTo>
                <a:lnTo>
                  <a:pt x="1235" y="392"/>
                </a:lnTo>
                <a:lnTo>
                  <a:pt x="1243" y="400"/>
                </a:lnTo>
                <a:lnTo>
                  <a:pt x="1250" y="408"/>
                </a:lnTo>
                <a:lnTo>
                  <a:pt x="1255" y="418"/>
                </a:lnTo>
                <a:lnTo>
                  <a:pt x="1259" y="428"/>
                </a:lnTo>
                <a:lnTo>
                  <a:pt x="1260" y="439"/>
                </a:lnTo>
                <a:lnTo>
                  <a:pt x="1259" y="451"/>
                </a:lnTo>
                <a:lnTo>
                  <a:pt x="1255" y="460"/>
                </a:lnTo>
                <a:lnTo>
                  <a:pt x="1250" y="471"/>
                </a:lnTo>
                <a:lnTo>
                  <a:pt x="1250" y="47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4937377" y="963128"/>
            <a:ext cx="3851189" cy="5924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300"/>
              </a:spcAft>
            </a:pP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=</a:t>
            </a:r>
            <a:r>
              <a:rPr lang="en-US" sz="1200" b="1" dirty="0" smtClean="0">
                <a:solidFill>
                  <a:srgbClr val="0070C0"/>
                </a:solidFill>
                <a:latin typeface="Georgia" panose="02040502050405020303" pitchFamily="18" charset="0"/>
              </a:rPr>
              <a:t>IF</a:t>
            </a:r>
            <a:r>
              <a:rPr lang="en-US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(</a:t>
            </a:r>
            <a:r>
              <a:rPr lang="en-US" sz="1200" dirty="0" smtClean="0">
                <a:solidFill>
                  <a:schemeClr val="tx1"/>
                </a:solidFill>
                <a:latin typeface="Georgia" panose="02040502050405020303" pitchFamily="18" charset="0"/>
              </a:rPr>
              <a:t>OR</a:t>
            </a:r>
            <a:r>
              <a:rPr lang="en-US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(</a:t>
            </a:r>
            <a:r>
              <a:rPr lang="en-US" sz="1200" dirty="0">
                <a:solidFill>
                  <a:schemeClr val="accent1"/>
                </a:solidFill>
                <a:latin typeface="Georgia" panose="02040502050405020303" pitchFamily="18" charset="0"/>
              </a:rPr>
              <a:t>logical, logical 2</a:t>
            </a: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), </a:t>
            </a:r>
            <a:r>
              <a:rPr lang="en-US" sz="1200" dirty="0">
                <a:solidFill>
                  <a:schemeClr val="tx1"/>
                </a:solidFill>
                <a:latin typeface="Georgia" panose="02040502050405020303" pitchFamily="18" charset="0"/>
              </a:rPr>
              <a:t>Value if true, Value if false</a:t>
            </a: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)</a:t>
            </a:r>
          </a:p>
          <a:p>
            <a:pPr>
              <a:spcAft>
                <a:spcPts val="300"/>
              </a:spcAft>
            </a:pP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=</a:t>
            </a:r>
            <a:r>
              <a:rPr lang="en-US" sz="1200" b="1" dirty="0" smtClean="0">
                <a:solidFill>
                  <a:srgbClr val="0070C0"/>
                </a:solidFill>
                <a:latin typeface="Georgia" panose="02040502050405020303" pitchFamily="18" charset="0"/>
              </a:rPr>
              <a:t>IF</a:t>
            </a: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(</a:t>
            </a:r>
            <a:r>
              <a:rPr lang="en-US" sz="1200" dirty="0">
                <a:solidFill>
                  <a:schemeClr val="tx1"/>
                </a:solidFill>
                <a:latin typeface="Georgia" panose="02040502050405020303" pitchFamily="18" charset="0"/>
              </a:rPr>
              <a:t>OR</a:t>
            </a: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(</a:t>
            </a:r>
            <a:r>
              <a:rPr lang="en-US" sz="1200" dirty="0" smtClean="0">
                <a:solidFill>
                  <a:schemeClr val="accent1"/>
                </a:solidFill>
                <a:latin typeface="Georgia" panose="02040502050405020303" pitchFamily="18" charset="0"/>
              </a:rPr>
              <a:t>First </a:t>
            </a:r>
            <a:r>
              <a:rPr lang="en-US" sz="1200" dirty="0">
                <a:solidFill>
                  <a:schemeClr val="accent1"/>
                </a:solidFill>
                <a:latin typeface="Georgia" panose="02040502050405020303" pitchFamily="18" charset="0"/>
              </a:rPr>
              <a:t>test, second test</a:t>
            </a: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), </a:t>
            </a:r>
            <a:r>
              <a:rPr lang="en-US" sz="1200" dirty="0">
                <a:solidFill>
                  <a:schemeClr val="tx1"/>
                </a:solidFill>
                <a:latin typeface="Georgia" panose="02040502050405020303" pitchFamily="18" charset="0"/>
              </a:rPr>
              <a:t>Value if any test is true, Value if all tests are false</a:t>
            </a: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)</a:t>
            </a:r>
          </a:p>
        </p:txBody>
      </p:sp>
      <p:sp>
        <p:nvSpPr>
          <p:cNvPr id="30" name="Freeform 211"/>
          <p:cNvSpPr>
            <a:spLocks noEditPoints="1"/>
          </p:cNvSpPr>
          <p:nvPr/>
        </p:nvSpPr>
        <p:spPr bwMode="auto">
          <a:xfrm>
            <a:off x="8563220" y="4359275"/>
            <a:ext cx="225345" cy="377168"/>
          </a:xfrm>
          <a:custGeom>
            <a:avLst/>
            <a:gdLst>
              <a:gd name="T0" fmla="*/ 223 w 512"/>
              <a:gd name="T1" fmla="*/ 95 h 766"/>
              <a:gd name="T2" fmla="*/ 159 w 512"/>
              <a:gd name="T3" fmla="*/ 95 h 766"/>
              <a:gd name="T4" fmla="*/ 159 w 512"/>
              <a:gd name="T5" fmla="*/ 160 h 766"/>
              <a:gd name="T6" fmla="*/ 223 w 512"/>
              <a:gd name="T7" fmla="*/ 160 h 766"/>
              <a:gd name="T8" fmla="*/ 223 w 512"/>
              <a:gd name="T9" fmla="*/ 95 h 766"/>
              <a:gd name="T10" fmla="*/ 352 w 512"/>
              <a:gd name="T11" fmla="*/ 95 h 766"/>
              <a:gd name="T12" fmla="*/ 287 w 512"/>
              <a:gd name="T13" fmla="*/ 95 h 766"/>
              <a:gd name="T14" fmla="*/ 287 w 512"/>
              <a:gd name="T15" fmla="*/ 160 h 766"/>
              <a:gd name="T16" fmla="*/ 352 w 512"/>
              <a:gd name="T17" fmla="*/ 160 h 766"/>
              <a:gd name="T18" fmla="*/ 352 w 512"/>
              <a:gd name="T19" fmla="*/ 95 h 766"/>
              <a:gd name="T20" fmla="*/ 448 w 512"/>
              <a:gd name="T21" fmla="*/ 223 h 766"/>
              <a:gd name="T22" fmla="*/ 448 w 512"/>
              <a:gd name="T23" fmla="*/ 0 h 766"/>
              <a:gd name="T24" fmla="*/ 63 w 512"/>
              <a:gd name="T25" fmla="*/ 0 h 766"/>
              <a:gd name="T26" fmla="*/ 63 w 512"/>
              <a:gd name="T27" fmla="*/ 223 h 766"/>
              <a:gd name="T28" fmla="*/ 63 w 512"/>
              <a:gd name="T29" fmla="*/ 223 h 766"/>
              <a:gd name="T30" fmla="*/ 50 w 512"/>
              <a:gd name="T31" fmla="*/ 224 h 766"/>
              <a:gd name="T32" fmla="*/ 39 w 512"/>
              <a:gd name="T33" fmla="*/ 228 h 766"/>
              <a:gd name="T34" fmla="*/ 27 w 512"/>
              <a:gd name="T35" fmla="*/ 234 h 766"/>
              <a:gd name="T36" fmla="*/ 19 w 512"/>
              <a:gd name="T37" fmla="*/ 241 h 766"/>
              <a:gd name="T38" fmla="*/ 10 w 512"/>
              <a:gd name="T39" fmla="*/ 251 h 766"/>
              <a:gd name="T40" fmla="*/ 4 w 512"/>
              <a:gd name="T41" fmla="*/ 262 h 766"/>
              <a:gd name="T42" fmla="*/ 1 w 512"/>
              <a:gd name="T43" fmla="*/ 274 h 766"/>
              <a:gd name="T44" fmla="*/ 0 w 512"/>
              <a:gd name="T45" fmla="*/ 287 h 766"/>
              <a:gd name="T46" fmla="*/ 0 w 512"/>
              <a:gd name="T47" fmla="*/ 703 h 766"/>
              <a:gd name="T48" fmla="*/ 0 w 512"/>
              <a:gd name="T49" fmla="*/ 703 h 766"/>
              <a:gd name="T50" fmla="*/ 1 w 512"/>
              <a:gd name="T51" fmla="*/ 716 h 766"/>
              <a:gd name="T52" fmla="*/ 4 w 512"/>
              <a:gd name="T53" fmla="*/ 728 h 766"/>
              <a:gd name="T54" fmla="*/ 10 w 512"/>
              <a:gd name="T55" fmla="*/ 739 h 766"/>
              <a:gd name="T56" fmla="*/ 19 w 512"/>
              <a:gd name="T57" fmla="*/ 748 h 766"/>
              <a:gd name="T58" fmla="*/ 27 w 512"/>
              <a:gd name="T59" fmla="*/ 756 h 766"/>
              <a:gd name="T60" fmla="*/ 39 w 512"/>
              <a:gd name="T61" fmla="*/ 762 h 766"/>
              <a:gd name="T62" fmla="*/ 50 w 512"/>
              <a:gd name="T63" fmla="*/ 765 h 766"/>
              <a:gd name="T64" fmla="*/ 63 w 512"/>
              <a:gd name="T65" fmla="*/ 766 h 766"/>
              <a:gd name="T66" fmla="*/ 448 w 512"/>
              <a:gd name="T67" fmla="*/ 766 h 766"/>
              <a:gd name="T68" fmla="*/ 448 w 512"/>
              <a:gd name="T69" fmla="*/ 766 h 766"/>
              <a:gd name="T70" fmla="*/ 460 w 512"/>
              <a:gd name="T71" fmla="*/ 765 h 766"/>
              <a:gd name="T72" fmla="*/ 472 w 512"/>
              <a:gd name="T73" fmla="*/ 762 h 766"/>
              <a:gd name="T74" fmla="*/ 483 w 512"/>
              <a:gd name="T75" fmla="*/ 756 h 766"/>
              <a:gd name="T76" fmla="*/ 492 w 512"/>
              <a:gd name="T77" fmla="*/ 748 h 766"/>
              <a:gd name="T78" fmla="*/ 501 w 512"/>
              <a:gd name="T79" fmla="*/ 739 h 766"/>
              <a:gd name="T80" fmla="*/ 507 w 512"/>
              <a:gd name="T81" fmla="*/ 728 h 766"/>
              <a:gd name="T82" fmla="*/ 510 w 512"/>
              <a:gd name="T83" fmla="*/ 716 h 766"/>
              <a:gd name="T84" fmla="*/ 512 w 512"/>
              <a:gd name="T85" fmla="*/ 703 h 766"/>
              <a:gd name="T86" fmla="*/ 512 w 512"/>
              <a:gd name="T87" fmla="*/ 287 h 766"/>
              <a:gd name="T88" fmla="*/ 512 w 512"/>
              <a:gd name="T89" fmla="*/ 287 h 766"/>
              <a:gd name="T90" fmla="*/ 510 w 512"/>
              <a:gd name="T91" fmla="*/ 274 h 766"/>
              <a:gd name="T92" fmla="*/ 507 w 512"/>
              <a:gd name="T93" fmla="*/ 262 h 766"/>
              <a:gd name="T94" fmla="*/ 501 w 512"/>
              <a:gd name="T95" fmla="*/ 251 h 766"/>
              <a:gd name="T96" fmla="*/ 492 w 512"/>
              <a:gd name="T97" fmla="*/ 241 h 766"/>
              <a:gd name="T98" fmla="*/ 483 w 512"/>
              <a:gd name="T99" fmla="*/ 234 h 766"/>
              <a:gd name="T100" fmla="*/ 472 w 512"/>
              <a:gd name="T101" fmla="*/ 228 h 766"/>
              <a:gd name="T102" fmla="*/ 460 w 512"/>
              <a:gd name="T103" fmla="*/ 224 h 766"/>
              <a:gd name="T104" fmla="*/ 448 w 512"/>
              <a:gd name="T105" fmla="*/ 223 h 766"/>
              <a:gd name="T106" fmla="*/ 448 w 512"/>
              <a:gd name="T107" fmla="*/ 223 h 766"/>
              <a:gd name="T108" fmla="*/ 400 w 512"/>
              <a:gd name="T109" fmla="*/ 223 h 766"/>
              <a:gd name="T110" fmla="*/ 111 w 512"/>
              <a:gd name="T111" fmla="*/ 223 h 766"/>
              <a:gd name="T112" fmla="*/ 111 w 512"/>
              <a:gd name="T113" fmla="*/ 47 h 766"/>
              <a:gd name="T114" fmla="*/ 400 w 512"/>
              <a:gd name="T115" fmla="*/ 47 h 766"/>
              <a:gd name="T116" fmla="*/ 400 w 512"/>
              <a:gd name="T117" fmla="*/ 223 h 7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12" h="766">
                <a:moveTo>
                  <a:pt x="223" y="95"/>
                </a:moveTo>
                <a:lnTo>
                  <a:pt x="159" y="95"/>
                </a:lnTo>
                <a:lnTo>
                  <a:pt x="159" y="160"/>
                </a:lnTo>
                <a:lnTo>
                  <a:pt x="223" y="160"/>
                </a:lnTo>
                <a:lnTo>
                  <a:pt x="223" y="95"/>
                </a:lnTo>
                <a:close/>
                <a:moveTo>
                  <a:pt x="352" y="95"/>
                </a:moveTo>
                <a:lnTo>
                  <a:pt x="287" y="95"/>
                </a:lnTo>
                <a:lnTo>
                  <a:pt x="287" y="160"/>
                </a:lnTo>
                <a:lnTo>
                  <a:pt x="352" y="160"/>
                </a:lnTo>
                <a:lnTo>
                  <a:pt x="352" y="95"/>
                </a:lnTo>
                <a:close/>
                <a:moveTo>
                  <a:pt x="448" y="223"/>
                </a:moveTo>
                <a:lnTo>
                  <a:pt x="448" y="0"/>
                </a:lnTo>
                <a:lnTo>
                  <a:pt x="63" y="0"/>
                </a:lnTo>
                <a:lnTo>
                  <a:pt x="63" y="223"/>
                </a:lnTo>
                <a:lnTo>
                  <a:pt x="63" y="223"/>
                </a:lnTo>
                <a:lnTo>
                  <a:pt x="50" y="224"/>
                </a:lnTo>
                <a:lnTo>
                  <a:pt x="39" y="228"/>
                </a:lnTo>
                <a:lnTo>
                  <a:pt x="27" y="234"/>
                </a:lnTo>
                <a:lnTo>
                  <a:pt x="19" y="241"/>
                </a:lnTo>
                <a:lnTo>
                  <a:pt x="10" y="251"/>
                </a:lnTo>
                <a:lnTo>
                  <a:pt x="4" y="262"/>
                </a:lnTo>
                <a:lnTo>
                  <a:pt x="1" y="274"/>
                </a:lnTo>
                <a:lnTo>
                  <a:pt x="0" y="287"/>
                </a:lnTo>
                <a:lnTo>
                  <a:pt x="0" y="703"/>
                </a:lnTo>
                <a:lnTo>
                  <a:pt x="0" y="703"/>
                </a:lnTo>
                <a:lnTo>
                  <a:pt x="1" y="716"/>
                </a:lnTo>
                <a:lnTo>
                  <a:pt x="4" y="728"/>
                </a:lnTo>
                <a:lnTo>
                  <a:pt x="10" y="739"/>
                </a:lnTo>
                <a:lnTo>
                  <a:pt x="19" y="748"/>
                </a:lnTo>
                <a:lnTo>
                  <a:pt x="27" y="756"/>
                </a:lnTo>
                <a:lnTo>
                  <a:pt x="39" y="762"/>
                </a:lnTo>
                <a:lnTo>
                  <a:pt x="50" y="765"/>
                </a:lnTo>
                <a:lnTo>
                  <a:pt x="63" y="766"/>
                </a:lnTo>
                <a:lnTo>
                  <a:pt x="448" y="766"/>
                </a:lnTo>
                <a:lnTo>
                  <a:pt x="448" y="766"/>
                </a:lnTo>
                <a:lnTo>
                  <a:pt x="460" y="765"/>
                </a:lnTo>
                <a:lnTo>
                  <a:pt x="472" y="762"/>
                </a:lnTo>
                <a:lnTo>
                  <a:pt x="483" y="756"/>
                </a:lnTo>
                <a:lnTo>
                  <a:pt x="492" y="748"/>
                </a:lnTo>
                <a:lnTo>
                  <a:pt x="501" y="739"/>
                </a:lnTo>
                <a:lnTo>
                  <a:pt x="507" y="728"/>
                </a:lnTo>
                <a:lnTo>
                  <a:pt x="510" y="716"/>
                </a:lnTo>
                <a:lnTo>
                  <a:pt x="512" y="703"/>
                </a:lnTo>
                <a:lnTo>
                  <a:pt x="512" y="287"/>
                </a:lnTo>
                <a:lnTo>
                  <a:pt x="512" y="287"/>
                </a:lnTo>
                <a:lnTo>
                  <a:pt x="510" y="274"/>
                </a:lnTo>
                <a:lnTo>
                  <a:pt x="507" y="262"/>
                </a:lnTo>
                <a:lnTo>
                  <a:pt x="501" y="251"/>
                </a:lnTo>
                <a:lnTo>
                  <a:pt x="492" y="241"/>
                </a:lnTo>
                <a:lnTo>
                  <a:pt x="483" y="234"/>
                </a:lnTo>
                <a:lnTo>
                  <a:pt x="472" y="228"/>
                </a:lnTo>
                <a:lnTo>
                  <a:pt x="460" y="224"/>
                </a:lnTo>
                <a:lnTo>
                  <a:pt x="448" y="223"/>
                </a:lnTo>
                <a:lnTo>
                  <a:pt x="448" y="223"/>
                </a:lnTo>
                <a:close/>
                <a:moveTo>
                  <a:pt x="400" y="223"/>
                </a:moveTo>
                <a:lnTo>
                  <a:pt x="111" y="223"/>
                </a:lnTo>
                <a:lnTo>
                  <a:pt x="111" y="47"/>
                </a:lnTo>
                <a:lnTo>
                  <a:pt x="400" y="47"/>
                </a:lnTo>
                <a:lnTo>
                  <a:pt x="400" y="22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grpSp>
        <p:nvGrpSpPr>
          <p:cNvPr id="65" name="Group 64"/>
          <p:cNvGrpSpPr/>
          <p:nvPr/>
        </p:nvGrpSpPr>
        <p:grpSpPr>
          <a:xfrm>
            <a:off x="4741786" y="4839950"/>
            <a:ext cx="3333261" cy="124245"/>
            <a:chOff x="4741786" y="4807866"/>
            <a:chExt cx="3333261" cy="124245"/>
          </a:xfrm>
        </p:grpSpPr>
        <p:grpSp>
          <p:nvGrpSpPr>
            <p:cNvPr id="66" name="Group 65"/>
            <p:cNvGrpSpPr/>
            <p:nvPr/>
          </p:nvGrpSpPr>
          <p:grpSpPr>
            <a:xfrm>
              <a:off x="4741786" y="4807866"/>
              <a:ext cx="749501" cy="124245"/>
              <a:chOff x="4744137" y="4807866"/>
              <a:chExt cx="749501" cy="124245"/>
            </a:xfrm>
          </p:grpSpPr>
          <p:sp>
            <p:nvSpPr>
              <p:cNvPr id="76" name="Content Placeholder 2"/>
              <p:cNvSpPr txBox="1">
                <a:spLocks/>
              </p:cNvSpPr>
              <p:nvPr/>
            </p:nvSpPr>
            <p:spPr>
              <a:xfrm>
                <a:off x="4744137" y="4807866"/>
                <a:ext cx="289063" cy="124245"/>
              </a:xfrm>
              <a:prstGeom prst="rect">
                <a:avLst/>
              </a:prstGeom>
              <a:solidFill>
                <a:srgbClr val="0070C0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TextBox 76"/>
              <p:cNvSpPr txBox="1"/>
              <p:nvPr/>
            </p:nvSpPr>
            <p:spPr>
              <a:xfrm>
                <a:off x="5083269" y="4808433"/>
                <a:ext cx="41036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Function</a:t>
                </a:r>
              </a:p>
            </p:txBody>
          </p:sp>
        </p:grpSp>
        <p:grpSp>
          <p:nvGrpSpPr>
            <p:cNvPr id="67" name="Group 66"/>
            <p:cNvGrpSpPr/>
            <p:nvPr/>
          </p:nvGrpSpPr>
          <p:grpSpPr>
            <a:xfrm>
              <a:off x="5657762" y="4807866"/>
              <a:ext cx="964303" cy="124245"/>
              <a:chOff x="5639959" y="4807866"/>
              <a:chExt cx="964303" cy="124245"/>
            </a:xfrm>
          </p:grpSpPr>
          <p:sp>
            <p:nvSpPr>
              <p:cNvPr id="74" name="Content Placeholder 2"/>
              <p:cNvSpPr txBox="1">
                <a:spLocks/>
              </p:cNvSpPr>
              <p:nvPr/>
            </p:nvSpPr>
            <p:spPr>
              <a:xfrm>
                <a:off x="5639959" y="4807866"/>
                <a:ext cx="289063" cy="124245"/>
              </a:xfrm>
              <a:prstGeom prst="rect">
                <a:avLst/>
              </a:prstGeom>
              <a:solidFill>
                <a:schemeClr val="accent1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b="1" i="1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TextBox 74"/>
              <p:cNvSpPr txBox="1"/>
              <p:nvPr/>
            </p:nvSpPr>
            <p:spPr>
              <a:xfrm>
                <a:off x="5979091" y="4808433"/>
                <a:ext cx="625171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Input Criteria</a:t>
                </a:r>
              </a:p>
            </p:txBody>
          </p:sp>
        </p:grpSp>
        <p:grpSp>
          <p:nvGrpSpPr>
            <p:cNvPr id="68" name="Group 67"/>
            <p:cNvGrpSpPr/>
            <p:nvPr/>
          </p:nvGrpSpPr>
          <p:grpSpPr>
            <a:xfrm>
              <a:off x="6790028" y="4807866"/>
              <a:ext cx="1285019" cy="124245"/>
              <a:chOff x="6731917" y="4807866"/>
              <a:chExt cx="1285019" cy="124245"/>
            </a:xfrm>
          </p:grpSpPr>
          <p:sp>
            <p:nvSpPr>
              <p:cNvPr id="71" name="Content Placeholder 2"/>
              <p:cNvSpPr txBox="1">
                <a:spLocks/>
              </p:cNvSpPr>
              <p:nvPr/>
            </p:nvSpPr>
            <p:spPr>
              <a:xfrm>
                <a:off x="6731917" y="4807866"/>
                <a:ext cx="289063" cy="124245"/>
              </a:xfrm>
              <a:prstGeom prst="rect">
                <a:avLst/>
              </a:prstGeom>
              <a:solidFill>
                <a:schemeClr val="tx1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B0F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b="1" i="1" dirty="0">
                  <a:solidFill>
                    <a:srgbClr val="00B0F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B0F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B0F0"/>
                  </a:solidFill>
                </a:endParaRPr>
              </a:p>
            </p:txBody>
          </p:sp>
          <p:sp>
            <p:nvSpPr>
              <p:cNvPr id="73" name="TextBox 72"/>
              <p:cNvSpPr txBox="1"/>
              <p:nvPr/>
            </p:nvSpPr>
            <p:spPr>
              <a:xfrm>
                <a:off x="7069561" y="4808433"/>
                <a:ext cx="947375" cy="123111"/>
              </a:xfrm>
              <a:prstGeom prst="rect">
                <a:avLst/>
              </a:prstGeom>
              <a:noFill/>
              <a:effectLst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 smtClean="0">
                    <a:latin typeface="Georgia" pitchFamily="18" charset="0"/>
                  </a:rPr>
                  <a:t>User Defined Output</a:t>
                </a:r>
                <a:endParaRPr lang="en-US" sz="800" dirty="0">
                  <a:latin typeface="Georgia" pitchFamily="18" charset="0"/>
                </a:endParaRP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4042597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 bwMode="ltGray">
          <a:xfrm>
            <a:off x="4741786" y="614362"/>
            <a:ext cx="4135514" cy="1957388"/>
          </a:xfrm>
          <a:prstGeom prst="rect">
            <a:avLst/>
          </a:prstGeom>
          <a:solidFill>
            <a:schemeClr val="tx2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72" name="Parallelogram 71"/>
          <p:cNvSpPr/>
          <p:nvPr/>
        </p:nvSpPr>
        <p:spPr bwMode="ltGray">
          <a:xfrm flipH="1">
            <a:off x="-5832" y="0"/>
            <a:ext cx="3712801" cy="5143500"/>
          </a:xfrm>
          <a:prstGeom prst="parallelogram">
            <a:avLst>
              <a:gd name="adj" fmla="val 77827"/>
            </a:avLst>
          </a:prstGeom>
          <a:solidFill>
            <a:srgbClr val="D5D1C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2" name="Rectangle 31"/>
          <p:cNvSpPr/>
          <p:nvPr/>
        </p:nvSpPr>
        <p:spPr bwMode="ltGray">
          <a:xfrm>
            <a:off x="251225" y="2866092"/>
            <a:ext cx="4255644" cy="1926763"/>
          </a:xfrm>
          <a:prstGeom prst="rect">
            <a:avLst/>
          </a:prstGeom>
          <a:solidFill>
            <a:srgbClr val="EB8C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69" name="Title 1"/>
          <p:cNvSpPr>
            <a:spLocks noGrp="1"/>
          </p:cNvSpPr>
          <p:nvPr>
            <p:ph type="title"/>
          </p:nvPr>
        </p:nvSpPr>
        <p:spPr>
          <a:xfrm>
            <a:off x="1178327" y="111849"/>
            <a:ext cx="7680410" cy="404406"/>
          </a:xfrm>
        </p:spPr>
        <p:txBody>
          <a:bodyPr/>
          <a:lstStyle/>
          <a:p>
            <a:r>
              <a:rPr lang="en-US" dirty="0"/>
              <a:t>Logical functions– Embedded IF function</a:t>
            </a:r>
            <a:endParaRPr lang="en-GB" b="0" i="0" dirty="0" smtClean="0"/>
          </a:p>
        </p:txBody>
      </p:sp>
      <p:sp>
        <p:nvSpPr>
          <p:cNvPr id="86" name="Rectangle 85"/>
          <p:cNvSpPr/>
          <p:nvPr/>
        </p:nvSpPr>
        <p:spPr bwMode="ltGray">
          <a:xfrm>
            <a:off x="251225" y="628104"/>
            <a:ext cx="4255644" cy="1943646"/>
          </a:xfrm>
          <a:prstGeom prst="rect">
            <a:avLst/>
          </a:prstGeom>
          <a:solidFill>
            <a:schemeClr val="accent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90" name="Rectangle 89"/>
          <p:cNvSpPr/>
          <p:nvPr/>
        </p:nvSpPr>
        <p:spPr bwMode="ltGray">
          <a:xfrm>
            <a:off x="4741786" y="2855610"/>
            <a:ext cx="4145039" cy="1925940"/>
          </a:xfrm>
          <a:prstGeom prst="rect">
            <a:avLst/>
          </a:prstGeom>
          <a:solidFill>
            <a:schemeClr val="accent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415925" y="963128"/>
            <a:ext cx="4022915" cy="129266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Embedding IF Statements involves combining multiple IF Statements into one set of tests to run additional formulas based on the outcomes of previous tests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The embedded IF can be trigged by a test either meeting the logical requirements or not meeting them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Embedded IF statements can incorporate additional formulas within structures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4956906" y="3302803"/>
            <a:ext cx="3840480" cy="5539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Embedded IF Statements frequently make use of the IfError function to allow for more flexibility in IF(OR) and IF(AND</a:t>
            </a: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>) Statements</a:t>
            </a:r>
            <a:endParaRPr lang="en-US" sz="1200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415925" y="3302803"/>
            <a:ext cx="4023360" cy="77713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Combine IF Statements as a more flexible method of the IF(OR)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Embedded IF Statements can be used to run tests in a remote </a:t>
            </a: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>data set</a:t>
            </a:r>
            <a:endParaRPr lang="en-US" sz="1200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01585" y="658652"/>
            <a:ext cx="940895" cy="2383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900"/>
              </a:spcAft>
            </a:pPr>
            <a:r>
              <a:rPr lang="en-GB" b="1" i="1" dirty="0" smtClean="0">
                <a:solidFill>
                  <a:schemeClr val="bg1"/>
                </a:solidFill>
                <a:latin typeface="Georgia" pitchFamily="18" charset="0"/>
              </a:rPr>
              <a:t>Overview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4937376" y="648119"/>
            <a:ext cx="940895" cy="2383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Syntax</a:t>
            </a:r>
            <a:endParaRPr lang="en-GB" b="1" i="1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907130" y="2937365"/>
            <a:ext cx="2550742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Tips </a:t>
            </a:r>
            <a:r>
              <a:rPr lang="en-GB" b="1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nd Tricks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415925" y="2988994"/>
            <a:ext cx="2651530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Uses </a:t>
            </a:r>
            <a:r>
              <a:rPr lang="en-GB" b="1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nd Applications</a:t>
            </a:r>
          </a:p>
        </p:txBody>
      </p:sp>
      <p:sp>
        <p:nvSpPr>
          <p:cNvPr id="23" name="Freeform 201"/>
          <p:cNvSpPr>
            <a:spLocks noEditPoints="1"/>
          </p:cNvSpPr>
          <p:nvPr/>
        </p:nvSpPr>
        <p:spPr bwMode="auto">
          <a:xfrm>
            <a:off x="4040650" y="2222127"/>
            <a:ext cx="398190" cy="283985"/>
          </a:xfrm>
          <a:custGeom>
            <a:avLst/>
            <a:gdLst>
              <a:gd name="T0" fmla="*/ 67 w 812"/>
              <a:gd name="T1" fmla="*/ 0 h 576"/>
              <a:gd name="T2" fmla="*/ 30 w 812"/>
              <a:gd name="T3" fmla="*/ 12 h 576"/>
              <a:gd name="T4" fmla="*/ 5 w 812"/>
              <a:gd name="T5" fmla="*/ 43 h 576"/>
              <a:gd name="T6" fmla="*/ 0 w 812"/>
              <a:gd name="T7" fmla="*/ 390 h 576"/>
              <a:gd name="T8" fmla="*/ 5 w 812"/>
              <a:gd name="T9" fmla="*/ 416 h 576"/>
              <a:gd name="T10" fmla="*/ 30 w 812"/>
              <a:gd name="T11" fmla="*/ 446 h 576"/>
              <a:gd name="T12" fmla="*/ 67 w 812"/>
              <a:gd name="T13" fmla="*/ 457 h 576"/>
              <a:gd name="T14" fmla="*/ 101 w 812"/>
              <a:gd name="T15" fmla="*/ 509 h 576"/>
              <a:gd name="T16" fmla="*/ 473 w 812"/>
              <a:gd name="T17" fmla="*/ 509 h 576"/>
              <a:gd name="T18" fmla="*/ 507 w 812"/>
              <a:gd name="T19" fmla="*/ 457 h 576"/>
              <a:gd name="T20" fmla="*/ 534 w 812"/>
              <a:gd name="T21" fmla="*/ 452 h 576"/>
              <a:gd name="T22" fmla="*/ 564 w 812"/>
              <a:gd name="T23" fmla="*/ 428 h 576"/>
              <a:gd name="T24" fmla="*/ 575 w 812"/>
              <a:gd name="T25" fmla="*/ 390 h 576"/>
              <a:gd name="T26" fmla="*/ 574 w 812"/>
              <a:gd name="T27" fmla="*/ 55 h 576"/>
              <a:gd name="T28" fmla="*/ 555 w 812"/>
              <a:gd name="T29" fmla="*/ 21 h 576"/>
              <a:gd name="T30" fmla="*/ 522 w 812"/>
              <a:gd name="T31" fmla="*/ 2 h 576"/>
              <a:gd name="T32" fmla="*/ 507 w 812"/>
              <a:gd name="T33" fmla="*/ 373 h 576"/>
              <a:gd name="T34" fmla="*/ 502 w 812"/>
              <a:gd name="T35" fmla="*/ 385 h 576"/>
              <a:gd name="T36" fmla="*/ 84 w 812"/>
              <a:gd name="T37" fmla="*/ 390 h 576"/>
              <a:gd name="T38" fmla="*/ 72 w 812"/>
              <a:gd name="T39" fmla="*/ 385 h 576"/>
              <a:gd name="T40" fmla="*/ 67 w 812"/>
              <a:gd name="T41" fmla="*/ 85 h 576"/>
              <a:gd name="T42" fmla="*/ 72 w 812"/>
              <a:gd name="T43" fmla="*/ 74 h 576"/>
              <a:gd name="T44" fmla="*/ 490 w 812"/>
              <a:gd name="T45" fmla="*/ 68 h 576"/>
              <a:gd name="T46" fmla="*/ 502 w 812"/>
              <a:gd name="T47" fmla="*/ 74 h 576"/>
              <a:gd name="T48" fmla="*/ 507 w 812"/>
              <a:gd name="T49" fmla="*/ 373 h 576"/>
              <a:gd name="T50" fmla="*/ 643 w 812"/>
              <a:gd name="T51" fmla="*/ 0 h 576"/>
              <a:gd name="T52" fmla="*/ 624 w 812"/>
              <a:gd name="T53" fmla="*/ 6 h 576"/>
              <a:gd name="T54" fmla="*/ 612 w 812"/>
              <a:gd name="T55" fmla="*/ 21 h 576"/>
              <a:gd name="T56" fmla="*/ 610 w 812"/>
              <a:gd name="T57" fmla="*/ 543 h 576"/>
              <a:gd name="T58" fmla="*/ 612 w 812"/>
              <a:gd name="T59" fmla="*/ 556 h 576"/>
              <a:gd name="T60" fmla="*/ 624 w 812"/>
              <a:gd name="T61" fmla="*/ 570 h 576"/>
              <a:gd name="T62" fmla="*/ 643 w 812"/>
              <a:gd name="T63" fmla="*/ 576 h 576"/>
              <a:gd name="T64" fmla="*/ 786 w 812"/>
              <a:gd name="T65" fmla="*/ 575 h 576"/>
              <a:gd name="T66" fmla="*/ 802 w 812"/>
              <a:gd name="T67" fmla="*/ 566 h 576"/>
              <a:gd name="T68" fmla="*/ 811 w 812"/>
              <a:gd name="T69" fmla="*/ 549 h 576"/>
              <a:gd name="T70" fmla="*/ 812 w 812"/>
              <a:gd name="T71" fmla="*/ 34 h 576"/>
              <a:gd name="T72" fmla="*/ 806 w 812"/>
              <a:gd name="T73" fmla="*/ 16 h 576"/>
              <a:gd name="T74" fmla="*/ 792 w 812"/>
              <a:gd name="T75" fmla="*/ 3 h 576"/>
              <a:gd name="T76" fmla="*/ 778 w 812"/>
              <a:gd name="T77" fmla="*/ 0 h 576"/>
              <a:gd name="T78" fmla="*/ 702 w 812"/>
              <a:gd name="T79" fmla="*/ 444 h 576"/>
              <a:gd name="T80" fmla="*/ 683 w 812"/>
              <a:gd name="T81" fmla="*/ 434 h 576"/>
              <a:gd name="T82" fmla="*/ 674 w 812"/>
              <a:gd name="T83" fmla="*/ 415 h 576"/>
              <a:gd name="T84" fmla="*/ 674 w 812"/>
              <a:gd name="T85" fmla="*/ 399 h 576"/>
              <a:gd name="T86" fmla="*/ 683 w 812"/>
              <a:gd name="T87" fmla="*/ 380 h 576"/>
              <a:gd name="T88" fmla="*/ 702 w 812"/>
              <a:gd name="T89" fmla="*/ 369 h 576"/>
              <a:gd name="T90" fmla="*/ 718 w 812"/>
              <a:gd name="T91" fmla="*/ 369 h 576"/>
              <a:gd name="T92" fmla="*/ 737 w 812"/>
              <a:gd name="T93" fmla="*/ 380 h 576"/>
              <a:gd name="T94" fmla="*/ 748 w 812"/>
              <a:gd name="T95" fmla="*/ 399 h 576"/>
              <a:gd name="T96" fmla="*/ 748 w 812"/>
              <a:gd name="T97" fmla="*/ 415 h 576"/>
              <a:gd name="T98" fmla="*/ 737 w 812"/>
              <a:gd name="T99" fmla="*/ 434 h 576"/>
              <a:gd name="T100" fmla="*/ 718 w 812"/>
              <a:gd name="T101" fmla="*/ 444 h 576"/>
              <a:gd name="T102" fmla="*/ 765 w 812"/>
              <a:gd name="T103" fmla="*/ 103 h 576"/>
              <a:gd name="T104" fmla="*/ 653 w 812"/>
              <a:gd name="T105" fmla="*/ 103 h 576"/>
              <a:gd name="T106" fmla="*/ 640 w 812"/>
              <a:gd name="T107" fmla="*/ 92 h 576"/>
              <a:gd name="T108" fmla="*/ 639 w 812"/>
              <a:gd name="T109" fmla="*/ 85 h 576"/>
              <a:gd name="T110" fmla="*/ 643 w 812"/>
              <a:gd name="T111" fmla="*/ 73 h 576"/>
              <a:gd name="T112" fmla="*/ 657 w 812"/>
              <a:gd name="T113" fmla="*/ 68 h 576"/>
              <a:gd name="T114" fmla="*/ 769 w 812"/>
              <a:gd name="T115" fmla="*/ 68 h 576"/>
              <a:gd name="T116" fmla="*/ 781 w 812"/>
              <a:gd name="T117" fmla="*/ 79 h 576"/>
              <a:gd name="T118" fmla="*/ 782 w 812"/>
              <a:gd name="T119" fmla="*/ 85 h 576"/>
              <a:gd name="T120" fmla="*/ 777 w 812"/>
              <a:gd name="T121" fmla="*/ 98 h 576"/>
              <a:gd name="T122" fmla="*/ 765 w 812"/>
              <a:gd name="T123" fmla="*/ 103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12" h="576">
                <a:moveTo>
                  <a:pt x="507" y="0"/>
                </a:moveTo>
                <a:lnTo>
                  <a:pt x="67" y="0"/>
                </a:lnTo>
                <a:lnTo>
                  <a:pt x="67" y="0"/>
                </a:lnTo>
                <a:lnTo>
                  <a:pt x="54" y="2"/>
                </a:lnTo>
                <a:lnTo>
                  <a:pt x="41" y="6"/>
                </a:lnTo>
                <a:lnTo>
                  <a:pt x="30" y="12"/>
                </a:lnTo>
                <a:lnTo>
                  <a:pt x="19" y="21"/>
                </a:lnTo>
                <a:lnTo>
                  <a:pt x="12" y="31"/>
                </a:lnTo>
                <a:lnTo>
                  <a:pt x="5" y="43"/>
                </a:lnTo>
                <a:lnTo>
                  <a:pt x="1" y="55"/>
                </a:lnTo>
                <a:lnTo>
                  <a:pt x="0" y="68"/>
                </a:lnTo>
                <a:lnTo>
                  <a:pt x="0" y="390"/>
                </a:lnTo>
                <a:lnTo>
                  <a:pt x="0" y="390"/>
                </a:lnTo>
                <a:lnTo>
                  <a:pt x="1" y="404"/>
                </a:lnTo>
                <a:lnTo>
                  <a:pt x="5" y="416"/>
                </a:lnTo>
                <a:lnTo>
                  <a:pt x="12" y="428"/>
                </a:lnTo>
                <a:lnTo>
                  <a:pt x="19" y="438"/>
                </a:lnTo>
                <a:lnTo>
                  <a:pt x="30" y="446"/>
                </a:lnTo>
                <a:lnTo>
                  <a:pt x="41" y="452"/>
                </a:lnTo>
                <a:lnTo>
                  <a:pt x="54" y="456"/>
                </a:lnTo>
                <a:lnTo>
                  <a:pt x="67" y="457"/>
                </a:lnTo>
                <a:lnTo>
                  <a:pt x="237" y="457"/>
                </a:lnTo>
                <a:lnTo>
                  <a:pt x="237" y="509"/>
                </a:lnTo>
                <a:lnTo>
                  <a:pt x="101" y="509"/>
                </a:lnTo>
                <a:lnTo>
                  <a:pt x="101" y="576"/>
                </a:lnTo>
                <a:lnTo>
                  <a:pt x="473" y="576"/>
                </a:lnTo>
                <a:lnTo>
                  <a:pt x="473" y="509"/>
                </a:lnTo>
                <a:lnTo>
                  <a:pt x="339" y="509"/>
                </a:lnTo>
                <a:lnTo>
                  <a:pt x="339" y="457"/>
                </a:lnTo>
                <a:lnTo>
                  <a:pt x="507" y="457"/>
                </a:lnTo>
                <a:lnTo>
                  <a:pt x="507" y="457"/>
                </a:lnTo>
                <a:lnTo>
                  <a:pt x="522" y="456"/>
                </a:lnTo>
                <a:lnTo>
                  <a:pt x="534" y="452"/>
                </a:lnTo>
                <a:lnTo>
                  <a:pt x="546" y="446"/>
                </a:lnTo>
                <a:lnTo>
                  <a:pt x="555" y="438"/>
                </a:lnTo>
                <a:lnTo>
                  <a:pt x="564" y="428"/>
                </a:lnTo>
                <a:lnTo>
                  <a:pt x="570" y="416"/>
                </a:lnTo>
                <a:lnTo>
                  <a:pt x="574" y="404"/>
                </a:lnTo>
                <a:lnTo>
                  <a:pt x="575" y="390"/>
                </a:lnTo>
                <a:lnTo>
                  <a:pt x="575" y="68"/>
                </a:lnTo>
                <a:lnTo>
                  <a:pt x="575" y="68"/>
                </a:lnTo>
                <a:lnTo>
                  <a:pt x="574" y="55"/>
                </a:lnTo>
                <a:lnTo>
                  <a:pt x="570" y="43"/>
                </a:lnTo>
                <a:lnTo>
                  <a:pt x="564" y="31"/>
                </a:lnTo>
                <a:lnTo>
                  <a:pt x="555" y="21"/>
                </a:lnTo>
                <a:lnTo>
                  <a:pt x="546" y="12"/>
                </a:lnTo>
                <a:lnTo>
                  <a:pt x="534" y="6"/>
                </a:lnTo>
                <a:lnTo>
                  <a:pt x="522" y="2"/>
                </a:lnTo>
                <a:lnTo>
                  <a:pt x="507" y="0"/>
                </a:lnTo>
                <a:lnTo>
                  <a:pt x="507" y="0"/>
                </a:lnTo>
                <a:close/>
                <a:moveTo>
                  <a:pt x="507" y="373"/>
                </a:moveTo>
                <a:lnTo>
                  <a:pt x="507" y="373"/>
                </a:lnTo>
                <a:lnTo>
                  <a:pt x="506" y="380"/>
                </a:lnTo>
                <a:lnTo>
                  <a:pt x="502" y="385"/>
                </a:lnTo>
                <a:lnTo>
                  <a:pt x="498" y="388"/>
                </a:lnTo>
                <a:lnTo>
                  <a:pt x="490" y="390"/>
                </a:lnTo>
                <a:lnTo>
                  <a:pt x="84" y="390"/>
                </a:lnTo>
                <a:lnTo>
                  <a:pt x="84" y="390"/>
                </a:lnTo>
                <a:lnTo>
                  <a:pt x="78" y="388"/>
                </a:lnTo>
                <a:lnTo>
                  <a:pt x="72" y="385"/>
                </a:lnTo>
                <a:lnTo>
                  <a:pt x="69" y="380"/>
                </a:lnTo>
                <a:lnTo>
                  <a:pt x="67" y="373"/>
                </a:lnTo>
                <a:lnTo>
                  <a:pt x="67" y="85"/>
                </a:lnTo>
                <a:lnTo>
                  <a:pt x="67" y="85"/>
                </a:lnTo>
                <a:lnTo>
                  <a:pt x="69" y="79"/>
                </a:lnTo>
                <a:lnTo>
                  <a:pt x="72" y="74"/>
                </a:lnTo>
                <a:lnTo>
                  <a:pt x="78" y="70"/>
                </a:lnTo>
                <a:lnTo>
                  <a:pt x="84" y="68"/>
                </a:lnTo>
                <a:lnTo>
                  <a:pt x="490" y="68"/>
                </a:lnTo>
                <a:lnTo>
                  <a:pt x="490" y="68"/>
                </a:lnTo>
                <a:lnTo>
                  <a:pt x="498" y="70"/>
                </a:lnTo>
                <a:lnTo>
                  <a:pt x="502" y="74"/>
                </a:lnTo>
                <a:lnTo>
                  <a:pt x="506" y="79"/>
                </a:lnTo>
                <a:lnTo>
                  <a:pt x="507" y="85"/>
                </a:lnTo>
                <a:lnTo>
                  <a:pt x="507" y="373"/>
                </a:lnTo>
                <a:close/>
                <a:moveTo>
                  <a:pt x="778" y="0"/>
                </a:moveTo>
                <a:lnTo>
                  <a:pt x="643" y="0"/>
                </a:lnTo>
                <a:lnTo>
                  <a:pt x="643" y="0"/>
                </a:lnTo>
                <a:lnTo>
                  <a:pt x="636" y="2"/>
                </a:lnTo>
                <a:lnTo>
                  <a:pt x="630" y="3"/>
                </a:lnTo>
                <a:lnTo>
                  <a:pt x="624" y="6"/>
                </a:lnTo>
                <a:lnTo>
                  <a:pt x="619" y="11"/>
                </a:lnTo>
                <a:lnTo>
                  <a:pt x="614" y="16"/>
                </a:lnTo>
                <a:lnTo>
                  <a:pt x="612" y="21"/>
                </a:lnTo>
                <a:lnTo>
                  <a:pt x="610" y="28"/>
                </a:lnTo>
                <a:lnTo>
                  <a:pt x="610" y="34"/>
                </a:lnTo>
                <a:lnTo>
                  <a:pt x="610" y="543"/>
                </a:lnTo>
                <a:lnTo>
                  <a:pt x="610" y="543"/>
                </a:lnTo>
                <a:lnTo>
                  <a:pt x="610" y="549"/>
                </a:lnTo>
                <a:lnTo>
                  <a:pt x="612" y="556"/>
                </a:lnTo>
                <a:lnTo>
                  <a:pt x="614" y="561"/>
                </a:lnTo>
                <a:lnTo>
                  <a:pt x="619" y="566"/>
                </a:lnTo>
                <a:lnTo>
                  <a:pt x="624" y="570"/>
                </a:lnTo>
                <a:lnTo>
                  <a:pt x="630" y="574"/>
                </a:lnTo>
                <a:lnTo>
                  <a:pt x="636" y="575"/>
                </a:lnTo>
                <a:lnTo>
                  <a:pt x="643" y="576"/>
                </a:lnTo>
                <a:lnTo>
                  <a:pt x="778" y="576"/>
                </a:lnTo>
                <a:lnTo>
                  <a:pt x="778" y="576"/>
                </a:lnTo>
                <a:lnTo>
                  <a:pt x="786" y="575"/>
                </a:lnTo>
                <a:lnTo>
                  <a:pt x="792" y="574"/>
                </a:lnTo>
                <a:lnTo>
                  <a:pt x="798" y="570"/>
                </a:lnTo>
                <a:lnTo>
                  <a:pt x="802" y="566"/>
                </a:lnTo>
                <a:lnTo>
                  <a:pt x="806" y="561"/>
                </a:lnTo>
                <a:lnTo>
                  <a:pt x="810" y="556"/>
                </a:lnTo>
                <a:lnTo>
                  <a:pt x="811" y="549"/>
                </a:lnTo>
                <a:lnTo>
                  <a:pt x="812" y="543"/>
                </a:lnTo>
                <a:lnTo>
                  <a:pt x="812" y="34"/>
                </a:lnTo>
                <a:lnTo>
                  <a:pt x="812" y="34"/>
                </a:lnTo>
                <a:lnTo>
                  <a:pt x="811" y="28"/>
                </a:lnTo>
                <a:lnTo>
                  <a:pt x="810" y="21"/>
                </a:lnTo>
                <a:lnTo>
                  <a:pt x="806" y="16"/>
                </a:lnTo>
                <a:lnTo>
                  <a:pt x="802" y="11"/>
                </a:lnTo>
                <a:lnTo>
                  <a:pt x="798" y="6"/>
                </a:lnTo>
                <a:lnTo>
                  <a:pt x="792" y="3"/>
                </a:lnTo>
                <a:lnTo>
                  <a:pt x="786" y="2"/>
                </a:lnTo>
                <a:lnTo>
                  <a:pt x="778" y="0"/>
                </a:lnTo>
                <a:lnTo>
                  <a:pt x="778" y="0"/>
                </a:lnTo>
                <a:close/>
                <a:moveTo>
                  <a:pt x="711" y="445"/>
                </a:moveTo>
                <a:lnTo>
                  <a:pt x="711" y="445"/>
                </a:lnTo>
                <a:lnTo>
                  <a:pt x="702" y="444"/>
                </a:lnTo>
                <a:lnTo>
                  <a:pt x="695" y="441"/>
                </a:lnTo>
                <a:lnTo>
                  <a:pt x="689" y="438"/>
                </a:lnTo>
                <a:lnTo>
                  <a:pt x="683" y="434"/>
                </a:lnTo>
                <a:lnTo>
                  <a:pt x="680" y="428"/>
                </a:lnTo>
                <a:lnTo>
                  <a:pt x="676" y="422"/>
                </a:lnTo>
                <a:lnTo>
                  <a:pt x="674" y="415"/>
                </a:lnTo>
                <a:lnTo>
                  <a:pt x="672" y="406"/>
                </a:lnTo>
                <a:lnTo>
                  <a:pt x="672" y="406"/>
                </a:lnTo>
                <a:lnTo>
                  <a:pt x="674" y="399"/>
                </a:lnTo>
                <a:lnTo>
                  <a:pt x="676" y="392"/>
                </a:lnTo>
                <a:lnTo>
                  <a:pt x="680" y="386"/>
                </a:lnTo>
                <a:lnTo>
                  <a:pt x="683" y="380"/>
                </a:lnTo>
                <a:lnTo>
                  <a:pt x="689" y="375"/>
                </a:lnTo>
                <a:lnTo>
                  <a:pt x="695" y="372"/>
                </a:lnTo>
                <a:lnTo>
                  <a:pt x="702" y="369"/>
                </a:lnTo>
                <a:lnTo>
                  <a:pt x="711" y="369"/>
                </a:lnTo>
                <a:lnTo>
                  <a:pt x="711" y="369"/>
                </a:lnTo>
                <a:lnTo>
                  <a:pt x="718" y="369"/>
                </a:lnTo>
                <a:lnTo>
                  <a:pt x="725" y="372"/>
                </a:lnTo>
                <a:lnTo>
                  <a:pt x="731" y="375"/>
                </a:lnTo>
                <a:lnTo>
                  <a:pt x="737" y="380"/>
                </a:lnTo>
                <a:lnTo>
                  <a:pt x="742" y="386"/>
                </a:lnTo>
                <a:lnTo>
                  <a:pt x="746" y="392"/>
                </a:lnTo>
                <a:lnTo>
                  <a:pt x="748" y="399"/>
                </a:lnTo>
                <a:lnTo>
                  <a:pt x="748" y="406"/>
                </a:lnTo>
                <a:lnTo>
                  <a:pt x="748" y="406"/>
                </a:lnTo>
                <a:lnTo>
                  <a:pt x="748" y="415"/>
                </a:lnTo>
                <a:lnTo>
                  <a:pt x="746" y="422"/>
                </a:lnTo>
                <a:lnTo>
                  <a:pt x="742" y="428"/>
                </a:lnTo>
                <a:lnTo>
                  <a:pt x="737" y="434"/>
                </a:lnTo>
                <a:lnTo>
                  <a:pt x="731" y="438"/>
                </a:lnTo>
                <a:lnTo>
                  <a:pt x="725" y="441"/>
                </a:lnTo>
                <a:lnTo>
                  <a:pt x="718" y="444"/>
                </a:lnTo>
                <a:lnTo>
                  <a:pt x="711" y="445"/>
                </a:lnTo>
                <a:lnTo>
                  <a:pt x="711" y="445"/>
                </a:lnTo>
                <a:close/>
                <a:moveTo>
                  <a:pt x="765" y="103"/>
                </a:moveTo>
                <a:lnTo>
                  <a:pt x="657" y="103"/>
                </a:lnTo>
                <a:lnTo>
                  <a:pt x="657" y="103"/>
                </a:lnTo>
                <a:lnTo>
                  <a:pt x="653" y="103"/>
                </a:lnTo>
                <a:lnTo>
                  <a:pt x="649" y="102"/>
                </a:lnTo>
                <a:lnTo>
                  <a:pt x="643" y="98"/>
                </a:lnTo>
                <a:lnTo>
                  <a:pt x="640" y="92"/>
                </a:lnTo>
                <a:lnTo>
                  <a:pt x="639" y="90"/>
                </a:lnTo>
                <a:lnTo>
                  <a:pt x="639" y="85"/>
                </a:lnTo>
                <a:lnTo>
                  <a:pt x="639" y="85"/>
                </a:lnTo>
                <a:lnTo>
                  <a:pt x="639" y="81"/>
                </a:lnTo>
                <a:lnTo>
                  <a:pt x="640" y="79"/>
                </a:lnTo>
                <a:lnTo>
                  <a:pt x="643" y="73"/>
                </a:lnTo>
                <a:lnTo>
                  <a:pt x="649" y="69"/>
                </a:lnTo>
                <a:lnTo>
                  <a:pt x="653" y="68"/>
                </a:lnTo>
                <a:lnTo>
                  <a:pt x="657" y="68"/>
                </a:lnTo>
                <a:lnTo>
                  <a:pt x="765" y="68"/>
                </a:lnTo>
                <a:lnTo>
                  <a:pt x="765" y="68"/>
                </a:lnTo>
                <a:lnTo>
                  <a:pt x="769" y="68"/>
                </a:lnTo>
                <a:lnTo>
                  <a:pt x="771" y="69"/>
                </a:lnTo>
                <a:lnTo>
                  <a:pt x="777" y="73"/>
                </a:lnTo>
                <a:lnTo>
                  <a:pt x="781" y="79"/>
                </a:lnTo>
                <a:lnTo>
                  <a:pt x="782" y="81"/>
                </a:lnTo>
                <a:lnTo>
                  <a:pt x="782" y="85"/>
                </a:lnTo>
                <a:lnTo>
                  <a:pt x="782" y="85"/>
                </a:lnTo>
                <a:lnTo>
                  <a:pt x="782" y="90"/>
                </a:lnTo>
                <a:lnTo>
                  <a:pt x="781" y="92"/>
                </a:lnTo>
                <a:lnTo>
                  <a:pt x="777" y="98"/>
                </a:lnTo>
                <a:lnTo>
                  <a:pt x="771" y="102"/>
                </a:lnTo>
                <a:lnTo>
                  <a:pt x="769" y="103"/>
                </a:lnTo>
                <a:lnTo>
                  <a:pt x="765" y="103"/>
                </a:lnTo>
                <a:lnTo>
                  <a:pt x="765" y="10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24" name="Freeform 206"/>
          <p:cNvSpPr>
            <a:spLocks noEditPoints="1"/>
          </p:cNvSpPr>
          <p:nvPr/>
        </p:nvSpPr>
        <p:spPr bwMode="auto">
          <a:xfrm>
            <a:off x="8471626" y="2142256"/>
            <a:ext cx="356144" cy="363856"/>
          </a:xfrm>
          <a:custGeom>
            <a:avLst/>
            <a:gdLst>
              <a:gd name="T0" fmla="*/ 272 w 736"/>
              <a:gd name="T1" fmla="*/ 192 h 738"/>
              <a:gd name="T2" fmla="*/ 183 w 736"/>
              <a:gd name="T3" fmla="*/ 290 h 738"/>
              <a:gd name="T4" fmla="*/ 171 w 736"/>
              <a:gd name="T5" fmla="*/ 410 h 738"/>
              <a:gd name="T6" fmla="*/ 241 w 736"/>
              <a:gd name="T7" fmla="*/ 524 h 738"/>
              <a:gd name="T8" fmla="*/ 368 w 736"/>
              <a:gd name="T9" fmla="*/ 570 h 738"/>
              <a:gd name="T10" fmla="*/ 480 w 736"/>
              <a:gd name="T11" fmla="*/ 535 h 738"/>
              <a:gd name="T12" fmla="*/ 559 w 736"/>
              <a:gd name="T13" fmla="*/ 429 h 738"/>
              <a:gd name="T14" fmla="*/ 559 w 736"/>
              <a:gd name="T15" fmla="*/ 309 h 738"/>
              <a:gd name="T16" fmla="*/ 480 w 736"/>
              <a:gd name="T17" fmla="*/ 203 h 738"/>
              <a:gd name="T18" fmla="*/ 368 w 736"/>
              <a:gd name="T19" fmla="*/ 168 h 738"/>
              <a:gd name="T20" fmla="*/ 319 w 736"/>
              <a:gd name="T21" fmla="*/ 460 h 738"/>
              <a:gd name="T22" fmla="*/ 272 w 736"/>
              <a:gd name="T23" fmla="*/ 410 h 738"/>
              <a:gd name="T24" fmla="*/ 266 w 736"/>
              <a:gd name="T25" fmla="*/ 347 h 738"/>
              <a:gd name="T26" fmla="*/ 302 w 736"/>
              <a:gd name="T27" fmla="*/ 288 h 738"/>
              <a:gd name="T28" fmla="*/ 368 w 736"/>
              <a:gd name="T29" fmla="*/ 264 h 738"/>
              <a:gd name="T30" fmla="*/ 427 w 736"/>
              <a:gd name="T31" fmla="*/ 282 h 738"/>
              <a:gd name="T32" fmla="*/ 468 w 736"/>
              <a:gd name="T33" fmla="*/ 337 h 738"/>
              <a:gd name="T34" fmla="*/ 468 w 736"/>
              <a:gd name="T35" fmla="*/ 400 h 738"/>
              <a:gd name="T36" fmla="*/ 427 w 736"/>
              <a:gd name="T37" fmla="*/ 456 h 738"/>
              <a:gd name="T38" fmla="*/ 368 w 736"/>
              <a:gd name="T39" fmla="*/ 474 h 738"/>
              <a:gd name="T40" fmla="*/ 19 w 736"/>
              <a:gd name="T41" fmla="*/ 19 h 738"/>
              <a:gd name="T42" fmla="*/ 1 w 736"/>
              <a:gd name="T43" fmla="*/ 685 h 738"/>
              <a:gd name="T44" fmla="*/ 67 w 736"/>
              <a:gd name="T45" fmla="*/ 738 h 738"/>
              <a:gd name="T46" fmla="*/ 724 w 736"/>
              <a:gd name="T47" fmla="*/ 707 h 738"/>
              <a:gd name="T48" fmla="*/ 731 w 736"/>
              <a:gd name="T49" fmla="*/ 41 h 738"/>
              <a:gd name="T50" fmla="*/ 668 w 736"/>
              <a:gd name="T51" fmla="*/ 0 h 738"/>
              <a:gd name="T52" fmla="*/ 131 w 736"/>
              <a:gd name="T53" fmla="*/ 80 h 738"/>
              <a:gd name="T54" fmla="*/ 131 w 736"/>
              <a:gd name="T55" fmla="*/ 122 h 738"/>
              <a:gd name="T56" fmla="*/ 93 w 736"/>
              <a:gd name="T57" fmla="*/ 137 h 738"/>
              <a:gd name="T58" fmla="*/ 63 w 736"/>
              <a:gd name="T59" fmla="*/ 100 h 738"/>
              <a:gd name="T60" fmla="*/ 85 w 736"/>
              <a:gd name="T61" fmla="*/ 66 h 738"/>
              <a:gd name="T62" fmla="*/ 85 w 736"/>
              <a:gd name="T63" fmla="*/ 671 h 738"/>
              <a:gd name="T64" fmla="*/ 63 w 736"/>
              <a:gd name="T65" fmla="*/ 638 h 738"/>
              <a:gd name="T66" fmla="*/ 93 w 736"/>
              <a:gd name="T67" fmla="*/ 600 h 738"/>
              <a:gd name="T68" fmla="*/ 131 w 736"/>
              <a:gd name="T69" fmla="*/ 616 h 738"/>
              <a:gd name="T70" fmla="*/ 131 w 736"/>
              <a:gd name="T71" fmla="*/ 658 h 738"/>
              <a:gd name="T72" fmla="*/ 368 w 736"/>
              <a:gd name="T73" fmla="*/ 641 h 738"/>
              <a:gd name="T74" fmla="*/ 216 w 736"/>
              <a:gd name="T75" fmla="*/ 594 h 738"/>
              <a:gd name="T76" fmla="*/ 108 w 736"/>
              <a:gd name="T77" fmla="*/ 450 h 738"/>
              <a:gd name="T78" fmla="*/ 108 w 736"/>
              <a:gd name="T79" fmla="*/ 288 h 738"/>
              <a:gd name="T80" fmla="*/ 216 w 736"/>
              <a:gd name="T81" fmla="*/ 143 h 738"/>
              <a:gd name="T82" fmla="*/ 368 w 736"/>
              <a:gd name="T83" fmla="*/ 96 h 738"/>
              <a:gd name="T84" fmla="*/ 541 w 736"/>
              <a:gd name="T85" fmla="*/ 159 h 738"/>
              <a:gd name="T86" fmla="*/ 634 w 736"/>
              <a:gd name="T87" fmla="*/ 313 h 738"/>
              <a:gd name="T88" fmla="*/ 618 w 736"/>
              <a:gd name="T89" fmla="*/ 475 h 738"/>
              <a:gd name="T90" fmla="*/ 498 w 736"/>
              <a:gd name="T91" fmla="*/ 609 h 738"/>
              <a:gd name="T92" fmla="*/ 636 w 736"/>
              <a:gd name="T93" fmla="*/ 675 h 738"/>
              <a:gd name="T94" fmla="*/ 601 w 736"/>
              <a:gd name="T95" fmla="*/ 652 h 738"/>
              <a:gd name="T96" fmla="*/ 608 w 736"/>
              <a:gd name="T97" fmla="*/ 610 h 738"/>
              <a:gd name="T98" fmla="*/ 650 w 736"/>
              <a:gd name="T99" fmla="*/ 603 h 738"/>
              <a:gd name="T100" fmla="*/ 673 w 736"/>
              <a:gd name="T101" fmla="*/ 638 h 738"/>
              <a:gd name="T102" fmla="*/ 643 w 736"/>
              <a:gd name="T103" fmla="*/ 674 h 738"/>
              <a:gd name="T104" fmla="*/ 614 w 736"/>
              <a:gd name="T105" fmla="*/ 131 h 738"/>
              <a:gd name="T106" fmla="*/ 599 w 736"/>
              <a:gd name="T107" fmla="*/ 93 h 738"/>
              <a:gd name="T108" fmla="*/ 636 w 736"/>
              <a:gd name="T109" fmla="*/ 63 h 738"/>
              <a:gd name="T110" fmla="*/ 670 w 736"/>
              <a:gd name="T111" fmla="*/ 86 h 738"/>
              <a:gd name="T112" fmla="*/ 662 w 736"/>
              <a:gd name="T113" fmla="*/ 128 h 7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36" h="738">
                <a:moveTo>
                  <a:pt x="368" y="168"/>
                </a:moveTo>
                <a:lnTo>
                  <a:pt x="368" y="168"/>
                </a:lnTo>
                <a:lnTo>
                  <a:pt x="347" y="169"/>
                </a:lnTo>
                <a:lnTo>
                  <a:pt x="327" y="171"/>
                </a:lnTo>
                <a:lnTo>
                  <a:pt x="308" y="177"/>
                </a:lnTo>
                <a:lnTo>
                  <a:pt x="290" y="183"/>
                </a:lnTo>
                <a:lnTo>
                  <a:pt x="272" y="192"/>
                </a:lnTo>
                <a:lnTo>
                  <a:pt x="256" y="203"/>
                </a:lnTo>
                <a:lnTo>
                  <a:pt x="241" y="213"/>
                </a:lnTo>
                <a:lnTo>
                  <a:pt x="226" y="227"/>
                </a:lnTo>
                <a:lnTo>
                  <a:pt x="213" y="241"/>
                </a:lnTo>
                <a:lnTo>
                  <a:pt x="202" y="257"/>
                </a:lnTo>
                <a:lnTo>
                  <a:pt x="191" y="272"/>
                </a:lnTo>
                <a:lnTo>
                  <a:pt x="183" y="290"/>
                </a:lnTo>
                <a:lnTo>
                  <a:pt x="177" y="309"/>
                </a:lnTo>
                <a:lnTo>
                  <a:pt x="171" y="328"/>
                </a:lnTo>
                <a:lnTo>
                  <a:pt x="168" y="348"/>
                </a:lnTo>
                <a:lnTo>
                  <a:pt x="167" y="369"/>
                </a:lnTo>
                <a:lnTo>
                  <a:pt x="167" y="369"/>
                </a:lnTo>
                <a:lnTo>
                  <a:pt x="168" y="389"/>
                </a:lnTo>
                <a:lnTo>
                  <a:pt x="171" y="410"/>
                </a:lnTo>
                <a:lnTo>
                  <a:pt x="177" y="429"/>
                </a:lnTo>
                <a:lnTo>
                  <a:pt x="183" y="447"/>
                </a:lnTo>
                <a:lnTo>
                  <a:pt x="191" y="465"/>
                </a:lnTo>
                <a:lnTo>
                  <a:pt x="202" y="481"/>
                </a:lnTo>
                <a:lnTo>
                  <a:pt x="213" y="497"/>
                </a:lnTo>
                <a:lnTo>
                  <a:pt x="226" y="511"/>
                </a:lnTo>
                <a:lnTo>
                  <a:pt x="241" y="524"/>
                </a:lnTo>
                <a:lnTo>
                  <a:pt x="256" y="535"/>
                </a:lnTo>
                <a:lnTo>
                  <a:pt x="272" y="546"/>
                </a:lnTo>
                <a:lnTo>
                  <a:pt x="290" y="554"/>
                </a:lnTo>
                <a:lnTo>
                  <a:pt x="308" y="560"/>
                </a:lnTo>
                <a:lnTo>
                  <a:pt x="327" y="566"/>
                </a:lnTo>
                <a:lnTo>
                  <a:pt x="347" y="569"/>
                </a:lnTo>
                <a:lnTo>
                  <a:pt x="368" y="570"/>
                </a:lnTo>
                <a:lnTo>
                  <a:pt x="368" y="570"/>
                </a:lnTo>
                <a:lnTo>
                  <a:pt x="388" y="569"/>
                </a:lnTo>
                <a:lnTo>
                  <a:pt x="409" y="566"/>
                </a:lnTo>
                <a:lnTo>
                  <a:pt x="428" y="560"/>
                </a:lnTo>
                <a:lnTo>
                  <a:pt x="446" y="554"/>
                </a:lnTo>
                <a:lnTo>
                  <a:pt x="464" y="546"/>
                </a:lnTo>
                <a:lnTo>
                  <a:pt x="480" y="535"/>
                </a:lnTo>
                <a:lnTo>
                  <a:pt x="495" y="524"/>
                </a:lnTo>
                <a:lnTo>
                  <a:pt x="510" y="511"/>
                </a:lnTo>
                <a:lnTo>
                  <a:pt x="523" y="497"/>
                </a:lnTo>
                <a:lnTo>
                  <a:pt x="534" y="481"/>
                </a:lnTo>
                <a:lnTo>
                  <a:pt x="545" y="465"/>
                </a:lnTo>
                <a:lnTo>
                  <a:pt x="553" y="447"/>
                </a:lnTo>
                <a:lnTo>
                  <a:pt x="559" y="429"/>
                </a:lnTo>
                <a:lnTo>
                  <a:pt x="565" y="410"/>
                </a:lnTo>
                <a:lnTo>
                  <a:pt x="567" y="389"/>
                </a:lnTo>
                <a:lnTo>
                  <a:pt x="569" y="369"/>
                </a:lnTo>
                <a:lnTo>
                  <a:pt x="569" y="369"/>
                </a:lnTo>
                <a:lnTo>
                  <a:pt x="567" y="348"/>
                </a:lnTo>
                <a:lnTo>
                  <a:pt x="565" y="328"/>
                </a:lnTo>
                <a:lnTo>
                  <a:pt x="559" y="309"/>
                </a:lnTo>
                <a:lnTo>
                  <a:pt x="553" y="290"/>
                </a:lnTo>
                <a:lnTo>
                  <a:pt x="545" y="272"/>
                </a:lnTo>
                <a:lnTo>
                  <a:pt x="534" y="257"/>
                </a:lnTo>
                <a:lnTo>
                  <a:pt x="523" y="241"/>
                </a:lnTo>
                <a:lnTo>
                  <a:pt x="510" y="227"/>
                </a:lnTo>
                <a:lnTo>
                  <a:pt x="495" y="213"/>
                </a:lnTo>
                <a:lnTo>
                  <a:pt x="480" y="203"/>
                </a:lnTo>
                <a:lnTo>
                  <a:pt x="464" y="192"/>
                </a:lnTo>
                <a:lnTo>
                  <a:pt x="446" y="183"/>
                </a:lnTo>
                <a:lnTo>
                  <a:pt x="428" y="177"/>
                </a:lnTo>
                <a:lnTo>
                  <a:pt x="409" y="171"/>
                </a:lnTo>
                <a:lnTo>
                  <a:pt x="388" y="169"/>
                </a:lnTo>
                <a:lnTo>
                  <a:pt x="368" y="168"/>
                </a:lnTo>
                <a:lnTo>
                  <a:pt x="368" y="168"/>
                </a:lnTo>
                <a:close/>
                <a:moveTo>
                  <a:pt x="368" y="474"/>
                </a:moveTo>
                <a:lnTo>
                  <a:pt x="368" y="474"/>
                </a:lnTo>
                <a:lnTo>
                  <a:pt x="357" y="472"/>
                </a:lnTo>
                <a:lnTo>
                  <a:pt x="346" y="471"/>
                </a:lnTo>
                <a:lnTo>
                  <a:pt x="337" y="469"/>
                </a:lnTo>
                <a:lnTo>
                  <a:pt x="327" y="465"/>
                </a:lnTo>
                <a:lnTo>
                  <a:pt x="319" y="460"/>
                </a:lnTo>
                <a:lnTo>
                  <a:pt x="309" y="456"/>
                </a:lnTo>
                <a:lnTo>
                  <a:pt x="302" y="450"/>
                </a:lnTo>
                <a:lnTo>
                  <a:pt x="295" y="442"/>
                </a:lnTo>
                <a:lnTo>
                  <a:pt x="287" y="435"/>
                </a:lnTo>
                <a:lnTo>
                  <a:pt x="281" y="428"/>
                </a:lnTo>
                <a:lnTo>
                  <a:pt x="277" y="418"/>
                </a:lnTo>
                <a:lnTo>
                  <a:pt x="272" y="410"/>
                </a:lnTo>
                <a:lnTo>
                  <a:pt x="268" y="400"/>
                </a:lnTo>
                <a:lnTo>
                  <a:pt x="266" y="390"/>
                </a:lnTo>
                <a:lnTo>
                  <a:pt x="265" y="380"/>
                </a:lnTo>
                <a:lnTo>
                  <a:pt x="263" y="369"/>
                </a:lnTo>
                <a:lnTo>
                  <a:pt x="263" y="369"/>
                </a:lnTo>
                <a:lnTo>
                  <a:pt x="265" y="358"/>
                </a:lnTo>
                <a:lnTo>
                  <a:pt x="266" y="347"/>
                </a:lnTo>
                <a:lnTo>
                  <a:pt x="268" y="337"/>
                </a:lnTo>
                <a:lnTo>
                  <a:pt x="272" y="328"/>
                </a:lnTo>
                <a:lnTo>
                  <a:pt x="277" y="319"/>
                </a:lnTo>
                <a:lnTo>
                  <a:pt x="281" y="310"/>
                </a:lnTo>
                <a:lnTo>
                  <a:pt x="287" y="303"/>
                </a:lnTo>
                <a:lnTo>
                  <a:pt x="295" y="295"/>
                </a:lnTo>
                <a:lnTo>
                  <a:pt x="302" y="288"/>
                </a:lnTo>
                <a:lnTo>
                  <a:pt x="309" y="282"/>
                </a:lnTo>
                <a:lnTo>
                  <a:pt x="319" y="277"/>
                </a:lnTo>
                <a:lnTo>
                  <a:pt x="327" y="272"/>
                </a:lnTo>
                <a:lnTo>
                  <a:pt x="337" y="269"/>
                </a:lnTo>
                <a:lnTo>
                  <a:pt x="346" y="266"/>
                </a:lnTo>
                <a:lnTo>
                  <a:pt x="357" y="265"/>
                </a:lnTo>
                <a:lnTo>
                  <a:pt x="368" y="264"/>
                </a:lnTo>
                <a:lnTo>
                  <a:pt x="368" y="264"/>
                </a:lnTo>
                <a:lnTo>
                  <a:pt x="379" y="265"/>
                </a:lnTo>
                <a:lnTo>
                  <a:pt x="390" y="266"/>
                </a:lnTo>
                <a:lnTo>
                  <a:pt x="399" y="269"/>
                </a:lnTo>
                <a:lnTo>
                  <a:pt x="409" y="272"/>
                </a:lnTo>
                <a:lnTo>
                  <a:pt x="417" y="277"/>
                </a:lnTo>
                <a:lnTo>
                  <a:pt x="427" y="282"/>
                </a:lnTo>
                <a:lnTo>
                  <a:pt x="434" y="288"/>
                </a:lnTo>
                <a:lnTo>
                  <a:pt x="441" y="295"/>
                </a:lnTo>
                <a:lnTo>
                  <a:pt x="448" y="303"/>
                </a:lnTo>
                <a:lnTo>
                  <a:pt x="454" y="310"/>
                </a:lnTo>
                <a:lnTo>
                  <a:pt x="459" y="319"/>
                </a:lnTo>
                <a:lnTo>
                  <a:pt x="464" y="328"/>
                </a:lnTo>
                <a:lnTo>
                  <a:pt x="468" y="337"/>
                </a:lnTo>
                <a:lnTo>
                  <a:pt x="470" y="347"/>
                </a:lnTo>
                <a:lnTo>
                  <a:pt x="471" y="358"/>
                </a:lnTo>
                <a:lnTo>
                  <a:pt x="472" y="369"/>
                </a:lnTo>
                <a:lnTo>
                  <a:pt x="472" y="369"/>
                </a:lnTo>
                <a:lnTo>
                  <a:pt x="471" y="380"/>
                </a:lnTo>
                <a:lnTo>
                  <a:pt x="470" y="390"/>
                </a:lnTo>
                <a:lnTo>
                  <a:pt x="468" y="400"/>
                </a:lnTo>
                <a:lnTo>
                  <a:pt x="464" y="410"/>
                </a:lnTo>
                <a:lnTo>
                  <a:pt x="459" y="418"/>
                </a:lnTo>
                <a:lnTo>
                  <a:pt x="454" y="428"/>
                </a:lnTo>
                <a:lnTo>
                  <a:pt x="448" y="435"/>
                </a:lnTo>
                <a:lnTo>
                  <a:pt x="441" y="442"/>
                </a:lnTo>
                <a:lnTo>
                  <a:pt x="434" y="450"/>
                </a:lnTo>
                <a:lnTo>
                  <a:pt x="427" y="456"/>
                </a:lnTo>
                <a:lnTo>
                  <a:pt x="417" y="460"/>
                </a:lnTo>
                <a:lnTo>
                  <a:pt x="409" y="465"/>
                </a:lnTo>
                <a:lnTo>
                  <a:pt x="399" y="469"/>
                </a:lnTo>
                <a:lnTo>
                  <a:pt x="390" y="471"/>
                </a:lnTo>
                <a:lnTo>
                  <a:pt x="379" y="472"/>
                </a:lnTo>
                <a:lnTo>
                  <a:pt x="368" y="474"/>
                </a:lnTo>
                <a:lnTo>
                  <a:pt x="368" y="474"/>
                </a:lnTo>
                <a:close/>
                <a:moveTo>
                  <a:pt x="668" y="0"/>
                </a:moveTo>
                <a:lnTo>
                  <a:pt x="67" y="0"/>
                </a:lnTo>
                <a:lnTo>
                  <a:pt x="67" y="0"/>
                </a:lnTo>
                <a:lnTo>
                  <a:pt x="53" y="1"/>
                </a:lnTo>
                <a:lnTo>
                  <a:pt x="41" y="5"/>
                </a:lnTo>
                <a:lnTo>
                  <a:pt x="30" y="12"/>
                </a:lnTo>
                <a:lnTo>
                  <a:pt x="19" y="19"/>
                </a:lnTo>
                <a:lnTo>
                  <a:pt x="12" y="30"/>
                </a:lnTo>
                <a:lnTo>
                  <a:pt x="5" y="41"/>
                </a:lnTo>
                <a:lnTo>
                  <a:pt x="1" y="53"/>
                </a:lnTo>
                <a:lnTo>
                  <a:pt x="0" y="68"/>
                </a:lnTo>
                <a:lnTo>
                  <a:pt x="0" y="670"/>
                </a:lnTo>
                <a:lnTo>
                  <a:pt x="0" y="670"/>
                </a:lnTo>
                <a:lnTo>
                  <a:pt x="1" y="685"/>
                </a:lnTo>
                <a:lnTo>
                  <a:pt x="5" y="697"/>
                </a:lnTo>
                <a:lnTo>
                  <a:pt x="12" y="707"/>
                </a:lnTo>
                <a:lnTo>
                  <a:pt x="19" y="718"/>
                </a:lnTo>
                <a:lnTo>
                  <a:pt x="30" y="725"/>
                </a:lnTo>
                <a:lnTo>
                  <a:pt x="41" y="733"/>
                </a:lnTo>
                <a:lnTo>
                  <a:pt x="53" y="736"/>
                </a:lnTo>
                <a:lnTo>
                  <a:pt x="67" y="738"/>
                </a:lnTo>
                <a:lnTo>
                  <a:pt x="668" y="738"/>
                </a:lnTo>
                <a:lnTo>
                  <a:pt x="668" y="738"/>
                </a:lnTo>
                <a:lnTo>
                  <a:pt x="683" y="736"/>
                </a:lnTo>
                <a:lnTo>
                  <a:pt x="695" y="733"/>
                </a:lnTo>
                <a:lnTo>
                  <a:pt x="706" y="725"/>
                </a:lnTo>
                <a:lnTo>
                  <a:pt x="716" y="718"/>
                </a:lnTo>
                <a:lnTo>
                  <a:pt x="724" y="707"/>
                </a:lnTo>
                <a:lnTo>
                  <a:pt x="731" y="697"/>
                </a:lnTo>
                <a:lnTo>
                  <a:pt x="734" y="685"/>
                </a:lnTo>
                <a:lnTo>
                  <a:pt x="736" y="670"/>
                </a:lnTo>
                <a:lnTo>
                  <a:pt x="736" y="68"/>
                </a:lnTo>
                <a:lnTo>
                  <a:pt x="736" y="68"/>
                </a:lnTo>
                <a:lnTo>
                  <a:pt x="734" y="53"/>
                </a:lnTo>
                <a:lnTo>
                  <a:pt x="731" y="41"/>
                </a:lnTo>
                <a:lnTo>
                  <a:pt x="724" y="30"/>
                </a:lnTo>
                <a:lnTo>
                  <a:pt x="716" y="19"/>
                </a:lnTo>
                <a:lnTo>
                  <a:pt x="706" y="12"/>
                </a:lnTo>
                <a:lnTo>
                  <a:pt x="695" y="5"/>
                </a:lnTo>
                <a:lnTo>
                  <a:pt x="683" y="1"/>
                </a:lnTo>
                <a:lnTo>
                  <a:pt x="668" y="0"/>
                </a:lnTo>
                <a:lnTo>
                  <a:pt x="668" y="0"/>
                </a:lnTo>
                <a:close/>
                <a:moveTo>
                  <a:pt x="100" y="63"/>
                </a:moveTo>
                <a:lnTo>
                  <a:pt x="100" y="63"/>
                </a:lnTo>
                <a:lnTo>
                  <a:pt x="108" y="64"/>
                </a:lnTo>
                <a:lnTo>
                  <a:pt x="116" y="66"/>
                </a:lnTo>
                <a:lnTo>
                  <a:pt x="122" y="70"/>
                </a:lnTo>
                <a:lnTo>
                  <a:pt x="128" y="74"/>
                </a:lnTo>
                <a:lnTo>
                  <a:pt x="131" y="80"/>
                </a:lnTo>
                <a:lnTo>
                  <a:pt x="135" y="86"/>
                </a:lnTo>
                <a:lnTo>
                  <a:pt x="137" y="93"/>
                </a:lnTo>
                <a:lnTo>
                  <a:pt x="138" y="100"/>
                </a:lnTo>
                <a:lnTo>
                  <a:pt x="138" y="100"/>
                </a:lnTo>
                <a:lnTo>
                  <a:pt x="137" y="109"/>
                </a:lnTo>
                <a:lnTo>
                  <a:pt x="135" y="116"/>
                </a:lnTo>
                <a:lnTo>
                  <a:pt x="131" y="122"/>
                </a:lnTo>
                <a:lnTo>
                  <a:pt x="128" y="128"/>
                </a:lnTo>
                <a:lnTo>
                  <a:pt x="122" y="131"/>
                </a:lnTo>
                <a:lnTo>
                  <a:pt x="116" y="135"/>
                </a:lnTo>
                <a:lnTo>
                  <a:pt x="108" y="137"/>
                </a:lnTo>
                <a:lnTo>
                  <a:pt x="100" y="139"/>
                </a:lnTo>
                <a:lnTo>
                  <a:pt x="100" y="139"/>
                </a:lnTo>
                <a:lnTo>
                  <a:pt x="93" y="137"/>
                </a:lnTo>
                <a:lnTo>
                  <a:pt x="85" y="135"/>
                </a:lnTo>
                <a:lnTo>
                  <a:pt x="79" y="131"/>
                </a:lnTo>
                <a:lnTo>
                  <a:pt x="73" y="128"/>
                </a:lnTo>
                <a:lnTo>
                  <a:pt x="70" y="122"/>
                </a:lnTo>
                <a:lnTo>
                  <a:pt x="66" y="116"/>
                </a:lnTo>
                <a:lnTo>
                  <a:pt x="64" y="109"/>
                </a:lnTo>
                <a:lnTo>
                  <a:pt x="63" y="100"/>
                </a:lnTo>
                <a:lnTo>
                  <a:pt x="63" y="100"/>
                </a:lnTo>
                <a:lnTo>
                  <a:pt x="64" y="93"/>
                </a:lnTo>
                <a:lnTo>
                  <a:pt x="66" y="86"/>
                </a:lnTo>
                <a:lnTo>
                  <a:pt x="70" y="80"/>
                </a:lnTo>
                <a:lnTo>
                  <a:pt x="73" y="74"/>
                </a:lnTo>
                <a:lnTo>
                  <a:pt x="79" y="70"/>
                </a:lnTo>
                <a:lnTo>
                  <a:pt x="85" y="66"/>
                </a:lnTo>
                <a:lnTo>
                  <a:pt x="93" y="64"/>
                </a:lnTo>
                <a:lnTo>
                  <a:pt x="100" y="63"/>
                </a:lnTo>
                <a:lnTo>
                  <a:pt x="100" y="63"/>
                </a:lnTo>
                <a:close/>
                <a:moveTo>
                  <a:pt x="100" y="675"/>
                </a:moveTo>
                <a:lnTo>
                  <a:pt x="100" y="675"/>
                </a:lnTo>
                <a:lnTo>
                  <a:pt x="93" y="674"/>
                </a:lnTo>
                <a:lnTo>
                  <a:pt x="85" y="671"/>
                </a:lnTo>
                <a:lnTo>
                  <a:pt x="79" y="668"/>
                </a:lnTo>
                <a:lnTo>
                  <a:pt x="73" y="664"/>
                </a:lnTo>
                <a:lnTo>
                  <a:pt x="70" y="658"/>
                </a:lnTo>
                <a:lnTo>
                  <a:pt x="66" y="652"/>
                </a:lnTo>
                <a:lnTo>
                  <a:pt x="64" y="645"/>
                </a:lnTo>
                <a:lnTo>
                  <a:pt x="63" y="638"/>
                </a:lnTo>
                <a:lnTo>
                  <a:pt x="63" y="638"/>
                </a:lnTo>
                <a:lnTo>
                  <a:pt x="64" y="629"/>
                </a:lnTo>
                <a:lnTo>
                  <a:pt x="66" y="622"/>
                </a:lnTo>
                <a:lnTo>
                  <a:pt x="70" y="616"/>
                </a:lnTo>
                <a:lnTo>
                  <a:pt x="73" y="610"/>
                </a:lnTo>
                <a:lnTo>
                  <a:pt x="79" y="606"/>
                </a:lnTo>
                <a:lnTo>
                  <a:pt x="85" y="603"/>
                </a:lnTo>
                <a:lnTo>
                  <a:pt x="93" y="600"/>
                </a:lnTo>
                <a:lnTo>
                  <a:pt x="100" y="599"/>
                </a:lnTo>
                <a:lnTo>
                  <a:pt x="100" y="599"/>
                </a:lnTo>
                <a:lnTo>
                  <a:pt x="108" y="600"/>
                </a:lnTo>
                <a:lnTo>
                  <a:pt x="116" y="603"/>
                </a:lnTo>
                <a:lnTo>
                  <a:pt x="122" y="606"/>
                </a:lnTo>
                <a:lnTo>
                  <a:pt x="128" y="610"/>
                </a:lnTo>
                <a:lnTo>
                  <a:pt x="131" y="616"/>
                </a:lnTo>
                <a:lnTo>
                  <a:pt x="135" y="622"/>
                </a:lnTo>
                <a:lnTo>
                  <a:pt x="137" y="629"/>
                </a:lnTo>
                <a:lnTo>
                  <a:pt x="138" y="638"/>
                </a:lnTo>
                <a:lnTo>
                  <a:pt x="138" y="638"/>
                </a:lnTo>
                <a:lnTo>
                  <a:pt x="137" y="645"/>
                </a:lnTo>
                <a:lnTo>
                  <a:pt x="135" y="652"/>
                </a:lnTo>
                <a:lnTo>
                  <a:pt x="131" y="658"/>
                </a:lnTo>
                <a:lnTo>
                  <a:pt x="128" y="664"/>
                </a:lnTo>
                <a:lnTo>
                  <a:pt x="122" y="668"/>
                </a:lnTo>
                <a:lnTo>
                  <a:pt x="116" y="671"/>
                </a:lnTo>
                <a:lnTo>
                  <a:pt x="108" y="674"/>
                </a:lnTo>
                <a:lnTo>
                  <a:pt x="100" y="675"/>
                </a:lnTo>
                <a:lnTo>
                  <a:pt x="100" y="675"/>
                </a:lnTo>
                <a:close/>
                <a:moveTo>
                  <a:pt x="368" y="641"/>
                </a:moveTo>
                <a:lnTo>
                  <a:pt x="368" y="641"/>
                </a:lnTo>
                <a:lnTo>
                  <a:pt x="340" y="640"/>
                </a:lnTo>
                <a:lnTo>
                  <a:pt x="313" y="635"/>
                </a:lnTo>
                <a:lnTo>
                  <a:pt x="287" y="629"/>
                </a:lnTo>
                <a:lnTo>
                  <a:pt x="262" y="619"/>
                </a:lnTo>
                <a:lnTo>
                  <a:pt x="238" y="609"/>
                </a:lnTo>
                <a:lnTo>
                  <a:pt x="216" y="594"/>
                </a:lnTo>
                <a:lnTo>
                  <a:pt x="195" y="578"/>
                </a:lnTo>
                <a:lnTo>
                  <a:pt x="176" y="562"/>
                </a:lnTo>
                <a:lnTo>
                  <a:pt x="159" y="542"/>
                </a:lnTo>
                <a:lnTo>
                  <a:pt x="143" y="521"/>
                </a:lnTo>
                <a:lnTo>
                  <a:pt x="129" y="499"/>
                </a:lnTo>
                <a:lnTo>
                  <a:pt x="118" y="475"/>
                </a:lnTo>
                <a:lnTo>
                  <a:pt x="108" y="450"/>
                </a:lnTo>
                <a:lnTo>
                  <a:pt x="102" y="424"/>
                </a:lnTo>
                <a:lnTo>
                  <a:pt x="97" y="397"/>
                </a:lnTo>
                <a:lnTo>
                  <a:pt x="96" y="369"/>
                </a:lnTo>
                <a:lnTo>
                  <a:pt x="96" y="369"/>
                </a:lnTo>
                <a:lnTo>
                  <a:pt x="97" y="341"/>
                </a:lnTo>
                <a:lnTo>
                  <a:pt x="102" y="313"/>
                </a:lnTo>
                <a:lnTo>
                  <a:pt x="108" y="288"/>
                </a:lnTo>
                <a:lnTo>
                  <a:pt x="118" y="263"/>
                </a:lnTo>
                <a:lnTo>
                  <a:pt x="129" y="239"/>
                </a:lnTo>
                <a:lnTo>
                  <a:pt x="143" y="217"/>
                </a:lnTo>
                <a:lnTo>
                  <a:pt x="159" y="195"/>
                </a:lnTo>
                <a:lnTo>
                  <a:pt x="176" y="176"/>
                </a:lnTo>
                <a:lnTo>
                  <a:pt x="195" y="159"/>
                </a:lnTo>
                <a:lnTo>
                  <a:pt x="216" y="143"/>
                </a:lnTo>
                <a:lnTo>
                  <a:pt x="238" y="129"/>
                </a:lnTo>
                <a:lnTo>
                  <a:pt x="262" y="118"/>
                </a:lnTo>
                <a:lnTo>
                  <a:pt x="287" y="109"/>
                </a:lnTo>
                <a:lnTo>
                  <a:pt x="313" y="103"/>
                </a:lnTo>
                <a:lnTo>
                  <a:pt x="340" y="98"/>
                </a:lnTo>
                <a:lnTo>
                  <a:pt x="368" y="96"/>
                </a:lnTo>
                <a:lnTo>
                  <a:pt x="368" y="96"/>
                </a:lnTo>
                <a:lnTo>
                  <a:pt x="396" y="98"/>
                </a:lnTo>
                <a:lnTo>
                  <a:pt x="423" y="103"/>
                </a:lnTo>
                <a:lnTo>
                  <a:pt x="448" y="109"/>
                </a:lnTo>
                <a:lnTo>
                  <a:pt x="474" y="118"/>
                </a:lnTo>
                <a:lnTo>
                  <a:pt x="498" y="129"/>
                </a:lnTo>
                <a:lnTo>
                  <a:pt x="519" y="143"/>
                </a:lnTo>
                <a:lnTo>
                  <a:pt x="541" y="159"/>
                </a:lnTo>
                <a:lnTo>
                  <a:pt x="560" y="176"/>
                </a:lnTo>
                <a:lnTo>
                  <a:pt x="577" y="195"/>
                </a:lnTo>
                <a:lnTo>
                  <a:pt x="593" y="217"/>
                </a:lnTo>
                <a:lnTo>
                  <a:pt x="607" y="239"/>
                </a:lnTo>
                <a:lnTo>
                  <a:pt x="618" y="263"/>
                </a:lnTo>
                <a:lnTo>
                  <a:pt x="628" y="288"/>
                </a:lnTo>
                <a:lnTo>
                  <a:pt x="634" y="313"/>
                </a:lnTo>
                <a:lnTo>
                  <a:pt x="638" y="341"/>
                </a:lnTo>
                <a:lnTo>
                  <a:pt x="640" y="369"/>
                </a:lnTo>
                <a:lnTo>
                  <a:pt x="640" y="369"/>
                </a:lnTo>
                <a:lnTo>
                  <a:pt x="638" y="397"/>
                </a:lnTo>
                <a:lnTo>
                  <a:pt x="634" y="424"/>
                </a:lnTo>
                <a:lnTo>
                  <a:pt x="628" y="450"/>
                </a:lnTo>
                <a:lnTo>
                  <a:pt x="618" y="475"/>
                </a:lnTo>
                <a:lnTo>
                  <a:pt x="607" y="499"/>
                </a:lnTo>
                <a:lnTo>
                  <a:pt x="593" y="521"/>
                </a:lnTo>
                <a:lnTo>
                  <a:pt x="577" y="542"/>
                </a:lnTo>
                <a:lnTo>
                  <a:pt x="560" y="562"/>
                </a:lnTo>
                <a:lnTo>
                  <a:pt x="541" y="578"/>
                </a:lnTo>
                <a:lnTo>
                  <a:pt x="519" y="594"/>
                </a:lnTo>
                <a:lnTo>
                  <a:pt x="498" y="609"/>
                </a:lnTo>
                <a:lnTo>
                  <a:pt x="474" y="619"/>
                </a:lnTo>
                <a:lnTo>
                  <a:pt x="448" y="629"/>
                </a:lnTo>
                <a:lnTo>
                  <a:pt x="423" y="635"/>
                </a:lnTo>
                <a:lnTo>
                  <a:pt x="396" y="640"/>
                </a:lnTo>
                <a:lnTo>
                  <a:pt x="368" y="641"/>
                </a:lnTo>
                <a:lnTo>
                  <a:pt x="368" y="641"/>
                </a:lnTo>
                <a:close/>
                <a:moveTo>
                  <a:pt x="636" y="675"/>
                </a:moveTo>
                <a:lnTo>
                  <a:pt x="636" y="675"/>
                </a:lnTo>
                <a:lnTo>
                  <a:pt x="628" y="674"/>
                </a:lnTo>
                <a:lnTo>
                  <a:pt x="620" y="671"/>
                </a:lnTo>
                <a:lnTo>
                  <a:pt x="614" y="668"/>
                </a:lnTo>
                <a:lnTo>
                  <a:pt x="608" y="664"/>
                </a:lnTo>
                <a:lnTo>
                  <a:pt x="605" y="658"/>
                </a:lnTo>
                <a:lnTo>
                  <a:pt x="601" y="652"/>
                </a:lnTo>
                <a:lnTo>
                  <a:pt x="599" y="645"/>
                </a:lnTo>
                <a:lnTo>
                  <a:pt x="597" y="638"/>
                </a:lnTo>
                <a:lnTo>
                  <a:pt x="597" y="638"/>
                </a:lnTo>
                <a:lnTo>
                  <a:pt x="599" y="629"/>
                </a:lnTo>
                <a:lnTo>
                  <a:pt x="601" y="622"/>
                </a:lnTo>
                <a:lnTo>
                  <a:pt x="605" y="616"/>
                </a:lnTo>
                <a:lnTo>
                  <a:pt x="608" y="610"/>
                </a:lnTo>
                <a:lnTo>
                  <a:pt x="614" y="606"/>
                </a:lnTo>
                <a:lnTo>
                  <a:pt x="620" y="603"/>
                </a:lnTo>
                <a:lnTo>
                  <a:pt x="628" y="600"/>
                </a:lnTo>
                <a:lnTo>
                  <a:pt x="636" y="599"/>
                </a:lnTo>
                <a:lnTo>
                  <a:pt x="636" y="599"/>
                </a:lnTo>
                <a:lnTo>
                  <a:pt x="643" y="600"/>
                </a:lnTo>
                <a:lnTo>
                  <a:pt x="650" y="603"/>
                </a:lnTo>
                <a:lnTo>
                  <a:pt x="656" y="606"/>
                </a:lnTo>
                <a:lnTo>
                  <a:pt x="662" y="610"/>
                </a:lnTo>
                <a:lnTo>
                  <a:pt x="666" y="616"/>
                </a:lnTo>
                <a:lnTo>
                  <a:pt x="670" y="622"/>
                </a:lnTo>
                <a:lnTo>
                  <a:pt x="672" y="629"/>
                </a:lnTo>
                <a:lnTo>
                  <a:pt x="673" y="638"/>
                </a:lnTo>
                <a:lnTo>
                  <a:pt x="673" y="638"/>
                </a:lnTo>
                <a:lnTo>
                  <a:pt x="672" y="645"/>
                </a:lnTo>
                <a:lnTo>
                  <a:pt x="670" y="652"/>
                </a:lnTo>
                <a:lnTo>
                  <a:pt x="666" y="658"/>
                </a:lnTo>
                <a:lnTo>
                  <a:pt x="662" y="664"/>
                </a:lnTo>
                <a:lnTo>
                  <a:pt x="656" y="668"/>
                </a:lnTo>
                <a:lnTo>
                  <a:pt x="650" y="671"/>
                </a:lnTo>
                <a:lnTo>
                  <a:pt x="643" y="674"/>
                </a:lnTo>
                <a:lnTo>
                  <a:pt x="636" y="675"/>
                </a:lnTo>
                <a:lnTo>
                  <a:pt x="636" y="675"/>
                </a:lnTo>
                <a:close/>
                <a:moveTo>
                  <a:pt x="636" y="139"/>
                </a:moveTo>
                <a:lnTo>
                  <a:pt x="636" y="139"/>
                </a:lnTo>
                <a:lnTo>
                  <a:pt x="628" y="137"/>
                </a:lnTo>
                <a:lnTo>
                  <a:pt x="620" y="135"/>
                </a:lnTo>
                <a:lnTo>
                  <a:pt x="614" y="131"/>
                </a:lnTo>
                <a:lnTo>
                  <a:pt x="608" y="128"/>
                </a:lnTo>
                <a:lnTo>
                  <a:pt x="605" y="122"/>
                </a:lnTo>
                <a:lnTo>
                  <a:pt x="601" y="116"/>
                </a:lnTo>
                <a:lnTo>
                  <a:pt x="599" y="109"/>
                </a:lnTo>
                <a:lnTo>
                  <a:pt x="597" y="100"/>
                </a:lnTo>
                <a:lnTo>
                  <a:pt x="597" y="100"/>
                </a:lnTo>
                <a:lnTo>
                  <a:pt x="599" y="93"/>
                </a:lnTo>
                <a:lnTo>
                  <a:pt x="601" y="86"/>
                </a:lnTo>
                <a:lnTo>
                  <a:pt x="605" y="80"/>
                </a:lnTo>
                <a:lnTo>
                  <a:pt x="608" y="74"/>
                </a:lnTo>
                <a:lnTo>
                  <a:pt x="614" y="70"/>
                </a:lnTo>
                <a:lnTo>
                  <a:pt x="620" y="66"/>
                </a:lnTo>
                <a:lnTo>
                  <a:pt x="628" y="64"/>
                </a:lnTo>
                <a:lnTo>
                  <a:pt x="636" y="63"/>
                </a:lnTo>
                <a:lnTo>
                  <a:pt x="636" y="63"/>
                </a:lnTo>
                <a:lnTo>
                  <a:pt x="643" y="64"/>
                </a:lnTo>
                <a:lnTo>
                  <a:pt x="650" y="66"/>
                </a:lnTo>
                <a:lnTo>
                  <a:pt x="656" y="70"/>
                </a:lnTo>
                <a:lnTo>
                  <a:pt x="662" y="74"/>
                </a:lnTo>
                <a:lnTo>
                  <a:pt x="666" y="80"/>
                </a:lnTo>
                <a:lnTo>
                  <a:pt x="670" y="86"/>
                </a:lnTo>
                <a:lnTo>
                  <a:pt x="672" y="93"/>
                </a:lnTo>
                <a:lnTo>
                  <a:pt x="673" y="100"/>
                </a:lnTo>
                <a:lnTo>
                  <a:pt x="673" y="100"/>
                </a:lnTo>
                <a:lnTo>
                  <a:pt x="672" y="109"/>
                </a:lnTo>
                <a:lnTo>
                  <a:pt x="670" y="116"/>
                </a:lnTo>
                <a:lnTo>
                  <a:pt x="666" y="122"/>
                </a:lnTo>
                <a:lnTo>
                  <a:pt x="662" y="128"/>
                </a:lnTo>
                <a:lnTo>
                  <a:pt x="656" y="131"/>
                </a:lnTo>
                <a:lnTo>
                  <a:pt x="650" y="135"/>
                </a:lnTo>
                <a:lnTo>
                  <a:pt x="643" y="137"/>
                </a:lnTo>
                <a:lnTo>
                  <a:pt x="636" y="139"/>
                </a:lnTo>
                <a:lnTo>
                  <a:pt x="636" y="13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39" name="Freeform 8"/>
          <p:cNvSpPr>
            <a:spLocks noEditPoints="1"/>
          </p:cNvSpPr>
          <p:nvPr/>
        </p:nvSpPr>
        <p:spPr bwMode="auto">
          <a:xfrm>
            <a:off x="4024506" y="4442354"/>
            <a:ext cx="399743" cy="283450"/>
          </a:xfrm>
          <a:custGeom>
            <a:avLst/>
            <a:gdLst>
              <a:gd name="T0" fmla="*/ 747 w 1356"/>
              <a:gd name="T1" fmla="*/ 10 h 907"/>
              <a:gd name="T2" fmla="*/ 630 w 1356"/>
              <a:gd name="T3" fmla="*/ 1 h 907"/>
              <a:gd name="T4" fmla="*/ 574 w 1356"/>
              <a:gd name="T5" fmla="*/ 66 h 907"/>
              <a:gd name="T6" fmla="*/ 377 w 1356"/>
              <a:gd name="T7" fmla="*/ 100 h 907"/>
              <a:gd name="T8" fmla="*/ 187 w 1356"/>
              <a:gd name="T9" fmla="*/ 215 h 907"/>
              <a:gd name="T10" fmla="*/ 56 w 1356"/>
              <a:gd name="T11" fmla="*/ 391 h 907"/>
              <a:gd name="T12" fmla="*/ 0 w 1356"/>
              <a:gd name="T13" fmla="*/ 609 h 907"/>
              <a:gd name="T14" fmla="*/ 7 w 1356"/>
              <a:gd name="T15" fmla="*/ 829 h 907"/>
              <a:gd name="T16" fmla="*/ 50 w 1356"/>
              <a:gd name="T17" fmla="*/ 896 h 907"/>
              <a:gd name="T18" fmla="*/ 118 w 1356"/>
              <a:gd name="T19" fmla="*/ 904 h 907"/>
              <a:gd name="T20" fmla="*/ 284 w 1356"/>
              <a:gd name="T21" fmla="*/ 794 h 907"/>
              <a:gd name="T22" fmla="*/ 519 w 1356"/>
              <a:gd name="T23" fmla="*/ 629 h 907"/>
              <a:gd name="T24" fmla="*/ 678 w 1356"/>
              <a:gd name="T25" fmla="*/ 596 h 907"/>
              <a:gd name="T26" fmla="*/ 808 w 1356"/>
              <a:gd name="T27" fmla="*/ 618 h 907"/>
              <a:gd name="T28" fmla="*/ 1022 w 1356"/>
              <a:gd name="T29" fmla="*/ 752 h 907"/>
              <a:gd name="T30" fmla="*/ 1228 w 1356"/>
              <a:gd name="T31" fmla="*/ 901 h 907"/>
              <a:gd name="T32" fmla="*/ 1299 w 1356"/>
              <a:gd name="T33" fmla="*/ 899 h 907"/>
              <a:gd name="T34" fmla="*/ 1344 w 1356"/>
              <a:gd name="T35" fmla="*/ 841 h 907"/>
              <a:gd name="T36" fmla="*/ 1356 w 1356"/>
              <a:gd name="T37" fmla="*/ 639 h 907"/>
              <a:gd name="T38" fmla="*/ 1311 w 1356"/>
              <a:gd name="T39" fmla="*/ 416 h 907"/>
              <a:gd name="T40" fmla="*/ 1188 w 1356"/>
              <a:gd name="T41" fmla="*/ 233 h 907"/>
              <a:gd name="T42" fmla="*/ 1005 w 1356"/>
              <a:gd name="T43" fmla="*/ 111 h 907"/>
              <a:gd name="T44" fmla="*/ 782 w 1356"/>
              <a:gd name="T45" fmla="*/ 66 h 907"/>
              <a:gd name="T46" fmla="*/ 366 w 1356"/>
              <a:gd name="T47" fmla="*/ 515 h 907"/>
              <a:gd name="T48" fmla="*/ 338 w 1356"/>
              <a:gd name="T49" fmla="*/ 612 h 907"/>
              <a:gd name="T50" fmla="*/ 295 w 1356"/>
              <a:gd name="T51" fmla="*/ 606 h 907"/>
              <a:gd name="T52" fmla="*/ 265 w 1356"/>
              <a:gd name="T53" fmla="*/ 509 h 907"/>
              <a:gd name="T54" fmla="*/ 170 w 1356"/>
              <a:gd name="T55" fmla="*/ 478 h 907"/>
              <a:gd name="T56" fmla="*/ 143 w 1356"/>
              <a:gd name="T57" fmla="*/ 435 h 907"/>
              <a:gd name="T58" fmla="*/ 206 w 1356"/>
              <a:gd name="T59" fmla="*/ 394 h 907"/>
              <a:gd name="T60" fmla="*/ 274 w 1356"/>
              <a:gd name="T61" fmla="*/ 326 h 907"/>
              <a:gd name="T62" fmla="*/ 315 w 1356"/>
              <a:gd name="T63" fmla="*/ 263 h 907"/>
              <a:gd name="T64" fmla="*/ 358 w 1356"/>
              <a:gd name="T65" fmla="*/ 290 h 907"/>
              <a:gd name="T66" fmla="*/ 385 w 1356"/>
              <a:gd name="T67" fmla="*/ 388 h 907"/>
              <a:gd name="T68" fmla="*/ 487 w 1356"/>
              <a:gd name="T69" fmla="*/ 415 h 907"/>
              <a:gd name="T70" fmla="*/ 492 w 1356"/>
              <a:gd name="T71" fmla="*/ 458 h 907"/>
              <a:gd name="T72" fmla="*/ 908 w 1356"/>
              <a:gd name="T73" fmla="*/ 436 h 907"/>
              <a:gd name="T74" fmla="*/ 839 w 1356"/>
              <a:gd name="T75" fmla="*/ 457 h 907"/>
              <a:gd name="T76" fmla="*/ 805 w 1356"/>
              <a:gd name="T77" fmla="*/ 393 h 907"/>
              <a:gd name="T78" fmla="*/ 861 w 1356"/>
              <a:gd name="T79" fmla="*/ 348 h 907"/>
              <a:gd name="T80" fmla="*/ 917 w 1356"/>
              <a:gd name="T81" fmla="*/ 393 h 907"/>
              <a:gd name="T82" fmla="*/ 912 w 1356"/>
              <a:gd name="T83" fmla="*/ 230 h 907"/>
              <a:gd name="T84" fmla="*/ 983 w 1356"/>
              <a:gd name="T85" fmla="*/ 223 h 907"/>
              <a:gd name="T86" fmla="*/ 998 w 1356"/>
              <a:gd name="T87" fmla="*/ 302 h 907"/>
              <a:gd name="T88" fmla="*/ 930 w 1356"/>
              <a:gd name="T89" fmla="*/ 323 h 907"/>
              <a:gd name="T90" fmla="*/ 895 w 1356"/>
              <a:gd name="T91" fmla="*/ 259 h 907"/>
              <a:gd name="T92" fmla="*/ 1008 w 1356"/>
              <a:gd name="T93" fmla="*/ 541 h 907"/>
              <a:gd name="T94" fmla="*/ 939 w 1356"/>
              <a:gd name="T95" fmla="*/ 520 h 907"/>
              <a:gd name="T96" fmla="*/ 946 w 1356"/>
              <a:gd name="T97" fmla="*/ 448 h 907"/>
              <a:gd name="T98" fmla="*/ 1018 w 1356"/>
              <a:gd name="T99" fmla="*/ 442 h 907"/>
              <a:gd name="T100" fmla="*/ 1033 w 1356"/>
              <a:gd name="T101" fmla="*/ 521 h 907"/>
              <a:gd name="T102" fmla="*/ 1078 w 1356"/>
              <a:gd name="T103" fmla="*/ 412 h 907"/>
              <a:gd name="T104" fmla="*/ 1021 w 1356"/>
              <a:gd name="T105" fmla="*/ 365 h 907"/>
              <a:gd name="T106" fmla="*/ 1056 w 1356"/>
              <a:gd name="T107" fmla="*/ 302 h 907"/>
              <a:gd name="T108" fmla="*/ 1125 w 1356"/>
              <a:gd name="T109" fmla="*/ 324 h 907"/>
              <a:gd name="T110" fmla="*/ 1250 w 1356"/>
              <a:gd name="T111" fmla="*/ 471 h 907"/>
              <a:gd name="T112" fmla="*/ 1182 w 1356"/>
              <a:gd name="T113" fmla="*/ 492 h 907"/>
              <a:gd name="T114" fmla="*/ 1147 w 1356"/>
              <a:gd name="T115" fmla="*/ 428 h 907"/>
              <a:gd name="T116" fmla="*/ 1202 w 1356"/>
              <a:gd name="T117" fmla="*/ 382 h 907"/>
              <a:gd name="T118" fmla="*/ 1259 w 1356"/>
              <a:gd name="T119" fmla="*/ 428 h 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356" h="907">
                <a:moveTo>
                  <a:pt x="782" y="66"/>
                </a:moveTo>
                <a:lnTo>
                  <a:pt x="778" y="66"/>
                </a:lnTo>
                <a:lnTo>
                  <a:pt x="778" y="66"/>
                </a:lnTo>
                <a:lnTo>
                  <a:pt x="775" y="52"/>
                </a:lnTo>
                <a:lnTo>
                  <a:pt x="771" y="40"/>
                </a:lnTo>
                <a:lnTo>
                  <a:pt x="764" y="28"/>
                </a:lnTo>
                <a:lnTo>
                  <a:pt x="757" y="18"/>
                </a:lnTo>
                <a:lnTo>
                  <a:pt x="747" y="10"/>
                </a:lnTo>
                <a:lnTo>
                  <a:pt x="737" y="4"/>
                </a:lnTo>
                <a:lnTo>
                  <a:pt x="726" y="1"/>
                </a:lnTo>
                <a:lnTo>
                  <a:pt x="721" y="0"/>
                </a:lnTo>
                <a:lnTo>
                  <a:pt x="715" y="0"/>
                </a:lnTo>
                <a:lnTo>
                  <a:pt x="641" y="0"/>
                </a:lnTo>
                <a:lnTo>
                  <a:pt x="641" y="0"/>
                </a:lnTo>
                <a:lnTo>
                  <a:pt x="635" y="0"/>
                </a:lnTo>
                <a:lnTo>
                  <a:pt x="630" y="1"/>
                </a:lnTo>
                <a:lnTo>
                  <a:pt x="619" y="4"/>
                </a:lnTo>
                <a:lnTo>
                  <a:pt x="608" y="10"/>
                </a:lnTo>
                <a:lnTo>
                  <a:pt x="599" y="18"/>
                </a:lnTo>
                <a:lnTo>
                  <a:pt x="592" y="28"/>
                </a:lnTo>
                <a:lnTo>
                  <a:pt x="585" y="40"/>
                </a:lnTo>
                <a:lnTo>
                  <a:pt x="581" y="52"/>
                </a:lnTo>
                <a:lnTo>
                  <a:pt x="578" y="66"/>
                </a:lnTo>
                <a:lnTo>
                  <a:pt x="574" y="66"/>
                </a:lnTo>
                <a:lnTo>
                  <a:pt x="574" y="66"/>
                </a:lnTo>
                <a:lnTo>
                  <a:pt x="545" y="67"/>
                </a:lnTo>
                <a:lnTo>
                  <a:pt x="516" y="69"/>
                </a:lnTo>
                <a:lnTo>
                  <a:pt x="487" y="72"/>
                </a:lnTo>
                <a:lnTo>
                  <a:pt x="458" y="77"/>
                </a:lnTo>
                <a:lnTo>
                  <a:pt x="430" y="84"/>
                </a:lnTo>
                <a:lnTo>
                  <a:pt x="403" y="92"/>
                </a:lnTo>
                <a:lnTo>
                  <a:pt x="377" y="100"/>
                </a:lnTo>
                <a:lnTo>
                  <a:pt x="351" y="111"/>
                </a:lnTo>
                <a:lnTo>
                  <a:pt x="325" y="122"/>
                </a:lnTo>
                <a:lnTo>
                  <a:pt x="300" y="135"/>
                </a:lnTo>
                <a:lnTo>
                  <a:pt x="276" y="149"/>
                </a:lnTo>
                <a:lnTo>
                  <a:pt x="254" y="164"/>
                </a:lnTo>
                <a:lnTo>
                  <a:pt x="231" y="180"/>
                </a:lnTo>
                <a:lnTo>
                  <a:pt x="209" y="196"/>
                </a:lnTo>
                <a:lnTo>
                  <a:pt x="187" y="215"/>
                </a:lnTo>
                <a:lnTo>
                  <a:pt x="168" y="233"/>
                </a:lnTo>
                <a:lnTo>
                  <a:pt x="149" y="254"/>
                </a:lnTo>
                <a:lnTo>
                  <a:pt x="131" y="274"/>
                </a:lnTo>
                <a:lnTo>
                  <a:pt x="114" y="296"/>
                </a:lnTo>
                <a:lnTo>
                  <a:pt x="97" y="319"/>
                </a:lnTo>
                <a:lnTo>
                  <a:pt x="83" y="341"/>
                </a:lnTo>
                <a:lnTo>
                  <a:pt x="69" y="366"/>
                </a:lnTo>
                <a:lnTo>
                  <a:pt x="56" y="391"/>
                </a:lnTo>
                <a:lnTo>
                  <a:pt x="44" y="416"/>
                </a:lnTo>
                <a:lnTo>
                  <a:pt x="35" y="442"/>
                </a:lnTo>
                <a:lnTo>
                  <a:pt x="26" y="469"/>
                </a:lnTo>
                <a:lnTo>
                  <a:pt x="17" y="496"/>
                </a:lnTo>
                <a:lnTo>
                  <a:pt x="12" y="524"/>
                </a:lnTo>
                <a:lnTo>
                  <a:pt x="6" y="552"/>
                </a:lnTo>
                <a:lnTo>
                  <a:pt x="3" y="580"/>
                </a:lnTo>
                <a:lnTo>
                  <a:pt x="0" y="609"/>
                </a:lnTo>
                <a:lnTo>
                  <a:pt x="0" y="639"/>
                </a:lnTo>
                <a:lnTo>
                  <a:pt x="0" y="753"/>
                </a:lnTo>
                <a:lnTo>
                  <a:pt x="0" y="753"/>
                </a:lnTo>
                <a:lnTo>
                  <a:pt x="0" y="771"/>
                </a:lnTo>
                <a:lnTo>
                  <a:pt x="1" y="787"/>
                </a:lnTo>
                <a:lnTo>
                  <a:pt x="3" y="802"/>
                </a:lnTo>
                <a:lnTo>
                  <a:pt x="5" y="816"/>
                </a:lnTo>
                <a:lnTo>
                  <a:pt x="7" y="829"/>
                </a:lnTo>
                <a:lnTo>
                  <a:pt x="11" y="841"/>
                </a:lnTo>
                <a:lnTo>
                  <a:pt x="15" y="852"/>
                </a:lnTo>
                <a:lnTo>
                  <a:pt x="19" y="861"/>
                </a:lnTo>
                <a:lnTo>
                  <a:pt x="25" y="870"/>
                </a:lnTo>
                <a:lnTo>
                  <a:pt x="30" y="878"/>
                </a:lnTo>
                <a:lnTo>
                  <a:pt x="37" y="885"/>
                </a:lnTo>
                <a:lnTo>
                  <a:pt x="43" y="891"/>
                </a:lnTo>
                <a:lnTo>
                  <a:pt x="50" y="896"/>
                </a:lnTo>
                <a:lnTo>
                  <a:pt x="57" y="899"/>
                </a:lnTo>
                <a:lnTo>
                  <a:pt x="65" y="902"/>
                </a:lnTo>
                <a:lnTo>
                  <a:pt x="73" y="905"/>
                </a:lnTo>
                <a:lnTo>
                  <a:pt x="81" y="907"/>
                </a:lnTo>
                <a:lnTo>
                  <a:pt x="90" y="907"/>
                </a:lnTo>
                <a:lnTo>
                  <a:pt x="100" y="907"/>
                </a:lnTo>
                <a:lnTo>
                  <a:pt x="108" y="906"/>
                </a:lnTo>
                <a:lnTo>
                  <a:pt x="118" y="904"/>
                </a:lnTo>
                <a:lnTo>
                  <a:pt x="128" y="901"/>
                </a:lnTo>
                <a:lnTo>
                  <a:pt x="148" y="894"/>
                </a:lnTo>
                <a:lnTo>
                  <a:pt x="170" y="884"/>
                </a:lnTo>
                <a:lnTo>
                  <a:pt x="191" y="871"/>
                </a:lnTo>
                <a:lnTo>
                  <a:pt x="213" y="855"/>
                </a:lnTo>
                <a:lnTo>
                  <a:pt x="235" y="838"/>
                </a:lnTo>
                <a:lnTo>
                  <a:pt x="235" y="838"/>
                </a:lnTo>
                <a:lnTo>
                  <a:pt x="284" y="794"/>
                </a:lnTo>
                <a:lnTo>
                  <a:pt x="334" y="752"/>
                </a:lnTo>
                <a:lnTo>
                  <a:pt x="359" y="732"/>
                </a:lnTo>
                <a:lnTo>
                  <a:pt x="384" y="711"/>
                </a:lnTo>
                <a:lnTo>
                  <a:pt x="410" y="693"/>
                </a:lnTo>
                <a:lnTo>
                  <a:pt x="436" y="674"/>
                </a:lnTo>
                <a:lnTo>
                  <a:pt x="463" y="658"/>
                </a:lnTo>
                <a:lnTo>
                  <a:pt x="491" y="643"/>
                </a:lnTo>
                <a:lnTo>
                  <a:pt x="519" y="629"/>
                </a:lnTo>
                <a:lnTo>
                  <a:pt x="548" y="618"/>
                </a:lnTo>
                <a:lnTo>
                  <a:pt x="579" y="608"/>
                </a:lnTo>
                <a:lnTo>
                  <a:pt x="595" y="605"/>
                </a:lnTo>
                <a:lnTo>
                  <a:pt x="611" y="602"/>
                </a:lnTo>
                <a:lnTo>
                  <a:pt x="628" y="600"/>
                </a:lnTo>
                <a:lnTo>
                  <a:pt x="644" y="598"/>
                </a:lnTo>
                <a:lnTo>
                  <a:pt x="661" y="596"/>
                </a:lnTo>
                <a:lnTo>
                  <a:pt x="678" y="596"/>
                </a:lnTo>
                <a:lnTo>
                  <a:pt x="678" y="596"/>
                </a:lnTo>
                <a:lnTo>
                  <a:pt x="695" y="596"/>
                </a:lnTo>
                <a:lnTo>
                  <a:pt x="712" y="598"/>
                </a:lnTo>
                <a:lnTo>
                  <a:pt x="728" y="600"/>
                </a:lnTo>
                <a:lnTo>
                  <a:pt x="745" y="602"/>
                </a:lnTo>
                <a:lnTo>
                  <a:pt x="761" y="605"/>
                </a:lnTo>
                <a:lnTo>
                  <a:pt x="776" y="608"/>
                </a:lnTo>
                <a:lnTo>
                  <a:pt x="808" y="618"/>
                </a:lnTo>
                <a:lnTo>
                  <a:pt x="837" y="629"/>
                </a:lnTo>
                <a:lnTo>
                  <a:pt x="865" y="643"/>
                </a:lnTo>
                <a:lnTo>
                  <a:pt x="893" y="658"/>
                </a:lnTo>
                <a:lnTo>
                  <a:pt x="919" y="674"/>
                </a:lnTo>
                <a:lnTo>
                  <a:pt x="946" y="693"/>
                </a:lnTo>
                <a:lnTo>
                  <a:pt x="972" y="711"/>
                </a:lnTo>
                <a:lnTo>
                  <a:pt x="997" y="732"/>
                </a:lnTo>
                <a:lnTo>
                  <a:pt x="1022" y="752"/>
                </a:lnTo>
                <a:lnTo>
                  <a:pt x="1071" y="794"/>
                </a:lnTo>
                <a:lnTo>
                  <a:pt x="1121" y="838"/>
                </a:lnTo>
                <a:lnTo>
                  <a:pt x="1121" y="838"/>
                </a:lnTo>
                <a:lnTo>
                  <a:pt x="1143" y="855"/>
                </a:lnTo>
                <a:lnTo>
                  <a:pt x="1164" y="871"/>
                </a:lnTo>
                <a:lnTo>
                  <a:pt x="1186" y="884"/>
                </a:lnTo>
                <a:lnTo>
                  <a:pt x="1208" y="894"/>
                </a:lnTo>
                <a:lnTo>
                  <a:pt x="1228" y="901"/>
                </a:lnTo>
                <a:lnTo>
                  <a:pt x="1238" y="904"/>
                </a:lnTo>
                <a:lnTo>
                  <a:pt x="1248" y="906"/>
                </a:lnTo>
                <a:lnTo>
                  <a:pt x="1256" y="907"/>
                </a:lnTo>
                <a:lnTo>
                  <a:pt x="1266" y="907"/>
                </a:lnTo>
                <a:lnTo>
                  <a:pt x="1275" y="907"/>
                </a:lnTo>
                <a:lnTo>
                  <a:pt x="1283" y="905"/>
                </a:lnTo>
                <a:lnTo>
                  <a:pt x="1291" y="902"/>
                </a:lnTo>
                <a:lnTo>
                  <a:pt x="1299" y="899"/>
                </a:lnTo>
                <a:lnTo>
                  <a:pt x="1306" y="896"/>
                </a:lnTo>
                <a:lnTo>
                  <a:pt x="1313" y="891"/>
                </a:lnTo>
                <a:lnTo>
                  <a:pt x="1319" y="885"/>
                </a:lnTo>
                <a:lnTo>
                  <a:pt x="1326" y="878"/>
                </a:lnTo>
                <a:lnTo>
                  <a:pt x="1331" y="870"/>
                </a:lnTo>
                <a:lnTo>
                  <a:pt x="1337" y="861"/>
                </a:lnTo>
                <a:lnTo>
                  <a:pt x="1341" y="852"/>
                </a:lnTo>
                <a:lnTo>
                  <a:pt x="1344" y="841"/>
                </a:lnTo>
                <a:lnTo>
                  <a:pt x="1349" y="829"/>
                </a:lnTo>
                <a:lnTo>
                  <a:pt x="1351" y="816"/>
                </a:lnTo>
                <a:lnTo>
                  <a:pt x="1353" y="802"/>
                </a:lnTo>
                <a:lnTo>
                  <a:pt x="1355" y="787"/>
                </a:lnTo>
                <a:lnTo>
                  <a:pt x="1356" y="771"/>
                </a:lnTo>
                <a:lnTo>
                  <a:pt x="1356" y="753"/>
                </a:lnTo>
                <a:lnTo>
                  <a:pt x="1356" y="639"/>
                </a:lnTo>
                <a:lnTo>
                  <a:pt x="1356" y="639"/>
                </a:lnTo>
                <a:lnTo>
                  <a:pt x="1355" y="609"/>
                </a:lnTo>
                <a:lnTo>
                  <a:pt x="1353" y="580"/>
                </a:lnTo>
                <a:lnTo>
                  <a:pt x="1350" y="552"/>
                </a:lnTo>
                <a:lnTo>
                  <a:pt x="1344" y="524"/>
                </a:lnTo>
                <a:lnTo>
                  <a:pt x="1338" y="496"/>
                </a:lnTo>
                <a:lnTo>
                  <a:pt x="1330" y="469"/>
                </a:lnTo>
                <a:lnTo>
                  <a:pt x="1322" y="442"/>
                </a:lnTo>
                <a:lnTo>
                  <a:pt x="1311" y="416"/>
                </a:lnTo>
                <a:lnTo>
                  <a:pt x="1300" y="391"/>
                </a:lnTo>
                <a:lnTo>
                  <a:pt x="1287" y="366"/>
                </a:lnTo>
                <a:lnTo>
                  <a:pt x="1273" y="341"/>
                </a:lnTo>
                <a:lnTo>
                  <a:pt x="1259" y="319"/>
                </a:lnTo>
                <a:lnTo>
                  <a:pt x="1242" y="296"/>
                </a:lnTo>
                <a:lnTo>
                  <a:pt x="1225" y="274"/>
                </a:lnTo>
                <a:lnTo>
                  <a:pt x="1207" y="254"/>
                </a:lnTo>
                <a:lnTo>
                  <a:pt x="1188" y="233"/>
                </a:lnTo>
                <a:lnTo>
                  <a:pt x="1168" y="215"/>
                </a:lnTo>
                <a:lnTo>
                  <a:pt x="1147" y="196"/>
                </a:lnTo>
                <a:lnTo>
                  <a:pt x="1125" y="180"/>
                </a:lnTo>
                <a:lnTo>
                  <a:pt x="1103" y="164"/>
                </a:lnTo>
                <a:lnTo>
                  <a:pt x="1080" y="149"/>
                </a:lnTo>
                <a:lnTo>
                  <a:pt x="1056" y="135"/>
                </a:lnTo>
                <a:lnTo>
                  <a:pt x="1031" y="122"/>
                </a:lnTo>
                <a:lnTo>
                  <a:pt x="1005" y="111"/>
                </a:lnTo>
                <a:lnTo>
                  <a:pt x="979" y="100"/>
                </a:lnTo>
                <a:lnTo>
                  <a:pt x="953" y="92"/>
                </a:lnTo>
                <a:lnTo>
                  <a:pt x="925" y="84"/>
                </a:lnTo>
                <a:lnTo>
                  <a:pt x="898" y="77"/>
                </a:lnTo>
                <a:lnTo>
                  <a:pt x="869" y="72"/>
                </a:lnTo>
                <a:lnTo>
                  <a:pt x="840" y="69"/>
                </a:lnTo>
                <a:lnTo>
                  <a:pt x="811" y="67"/>
                </a:lnTo>
                <a:lnTo>
                  <a:pt x="782" y="66"/>
                </a:lnTo>
                <a:lnTo>
                  <a:pt x="782" y="66"/>
                </a:lnTo>
                <a:close/>
                <a:moveTo>
                  <a:pt x="434" y="486"/>
                </a:moveTo>
                <a:lnTo>
                  <a:pt x="393" y="486"/>
                </a:lnTo>
                <a:lnTo>
                  <a:pt x="393" y="486"/>
                </a:lnTo>
                <a:lnTo>
                  <a:pt x="388" y="495"/>
                </a:lnTo>
                <a:lnTo>
                  <a:pt x="382" y="502"/>
                </a:lnTo>
                <a:lnTo>
                  <a:pt x="374" y="509"/>
                </a:lnTo>
                <a:lnTo>
                  <a:pt x="366" y="515"/>
                </a:lnTo>
                <a:lnTo>
                  <a:pt x="366" y="553"/>
                </a:lnTo>
                <a:lnTo>
                  <a:pt x="366" y="553"/>
                </a:lnTo>
                <a:lnTo>
                  <a:pt x="365" y="566"/>
                </a:lnTo>
                <a:lnTo>
                  <a:pt x="362" y="578"/>
                </a:lnTo>
                <a:lnTo>
                  <a:pt x="358" y="589"/>
                </a:lnTo>
                <a:lnTo>
                  <a:pt x="352" y="599"/>
                </a:lnTo>
                <a:lnTo>
                  <a:pt x="346" y="606"/>
                </a:lnTo>
                <a:lnTo>
                  <a:pt x="338" y="612"/>
                </a:lnTo>
                <a:lnTo>
                  <a:pt x="329" y="616"/>
                </a:lnTo>
                <a:lnTo>
                  <a:pt x="325" y="617"/>
                </a:lnTo>
                <a:lnTo>
                  <a:pt x="320" y="617"/>
                </a:lnTo>
                <a:lnTo>
                  <a:pt x="320" y="617"/>
                </a:lnTo>
                <a:lnTo>
                  <a:pt x="315" y="617"/>
                </a:lnTo>
                <a:lnTo>
                  <a:pt x="311" y="616"/>
                </a:lnTo>
                <a:lnTo>
                  <a:pt x="302" y="612"/>
                </a:lnTo>
                <a:lnTo>
                  <a:pt x="295" y="606"/>
                </a:lnTo>
                <a:lnTo>
                  <a:pt x="287" y="599"/>
                </a:lnTo>
                <a:lnTo>
                  <a:pt x="282" y="589"/>
                </a:lnTo>
                <a:lnTo>
                  <a:pt x="277" y="578"/>
                </a:lnTo>
                <a:lnTo>
                  <a:pt x="275" y="566"/>
                </a:lnTo>
                <a:lnTo>
                  <a:pt x="274" y="553"/>
                </a:lnTo>
                <a:lnTo>
                  <a:pt x="274" y="515"/>
                </a:lnTo>
                <a:lnTo>
                  <a:pt x="274" y="515"/>
                </a:lnTo>
                <a:lnTo>
                  <a:pt x="265" y="509"/>
                </a:lnTo>
                <a:lnTo>
                  <a:pt x="258" y="502"/>
                </a:lnTo>
                <a:lnTo>
                  <a:pt x="251" y="495"/>
                </a:lnTo>
                <a:lnTo>
                  <a:pt x="246" y="486"/>
                </a:lnTo>
                <a:lnTo>
                  <a:pt x="206" y="486"/>
                </a:lnTo>
                <a:lnTo>
                  <a:pt x="206" y="486"/>
                </a:lnTo>
                <a:lnTo>
                  <a:pt x="193" y="485"/>
                </a:lnTo>
                <a:lnTo>
                  <a:pt x="181" y="482"/>
                </a:lnTo>
                <a:lnTo>
                  <a:pt x="170" y="478"/>
                </a:lnTo>
                <a:lnTo>
                  <a:pt x="161" y="472"/>
                </a:lnTo>
                <a:lnTo>
                  <a:pt x="153" y="466"/>
                </a:lnTo>
                <a:lnTo>
                  <a:pt x="147" y="458"/>
                </a:lnTo>
                <a:lnTo>
                  <a:pt x="144" y="449"/>
                </a:lnTo>
                <a:lnTo>
                  <a:pt x="143" y="445"/>
                </a:lnTo>
                <a:lnTo>
                  <a:pt x="142" y="440"/>
                </a:lnTo>
                <a:lnTo>
                  <a:pt x="142" y="440"/>
                </a:lnTo>
                <a:lnTo>
                  <a:pt x="143" y="435"/>
                </a:lnTo>
                <a:lnTo>
                  <a:pt x="144" y="431"/>
                </a:lnTo>
                <a:lnTo>
                  <a:pt x="147" y="422"/>
                </a:lnTo>
                <a:lnTo>
                  <a:pt x="153" y="415"/>
                </a:lnTo>
                <a:lnTo>
                  <a:pt x="161" y="407"/>
                </a:lnTo>
                <a:lnTo>
                  <a:pt x="170" y="402"/>
                </a:lnTo>
                <a:lnTo>
                  <a:pt x="181" y="398"/>
                </a:lnTo>
                <a:lnTo>
                  <a:pt x="193" y="395"/>
                </a:lnTo>
                <a:lnTo>
                  <a:pt x="206" y="394"/>
                </a:lnTo>
                <a:lnTo>
                  <a:pt x="250" y="394"/>
                </a:lnTo>
                <a:lnTo>
                  <a:pt x="250" y="394"/>
                </a:lnTo>
                <a:lnTo>
                  <a:pt x="256" y="388"/>
                </a:lnTo>
                <a:lnTo>
                  <a:pt x="261" y="382"/>
                </a:lnTo>
                <a:lnTo>
                  <a:pt x="268" y="377"/>
                </a:lnTo>
                <a:lnTo>
                  <a:pt x="274" y="372"/>
                </a:lnTo>
                <a:lnTo>
                  <a:pt x="274" y="326"/>
                </a:lnTo>
                <a:lnTo>
                  <a:pt x="274" y="326"/>
                </a:lnTo>
                <a:lnTo>
                  <a:pt x="275" y="313"/>
                </a:lnTo>
                <a:lnTo>
                  <a:pt x="277" y="301"/>
                </a:lnTo>
                <a:lnTo>
                  <a:pt x="282" y="290"/>
                </a:lnTo>
                <a:lnTo>
                  <a:pt x="287" y="282"/>
                </a:lnTo>
                <a:lnTo>
                  <a:pt x="295" y="274"/>
                </a:lnTo>
                <a:lnTo>
                  <a:pt x="302" y="268"/>
                </a:lnTo>
                <a:lnTo>
                  <a:pt x="311" y="265"/>
                </a:lnTo>
                <a:lnTo>
                  <a:pt x="315" y="263"/>
                </a:lnTo>
                <a:lnTo>
                  <a:pt x="320" y="262"/>
                </a:lnTo>
                <a:lnTo>
                  <a:pt x="320" y="262"/>
                </a:lnTo>
                <a:lnTo>
                  <a:pt x="325" y="263"/>
                </a:lnTo>
                <a:lnTo>
                  <a:pt x="329" y="265"/>
                </a:lnTo>
                <a:lnTo>
                  <a:pt x="338" y="268"/>
                </a:lnTo>
                <a:lnTo>
                  <a:pt x="346" y="274"/>
                </a:lnTo>
                <a:lnTo>
                  <a:pt x="352" y="282"/>
                </a:lnTo>
                <a:lnTo>
                  <a:pt x="358" y="290"/>
                </a:lnTo>
                <a:lnTo>
                  <a:pt x="362" y="301"/>
                </a:lnTo>
                <a:lnTo>
                  <a:pt x="365" y="313"/>
                </a:lnTo>
                <a:lnTo>
                  <a:pt x="366" y="326"/>
                </a:lnTo>
                <a:lnTo>
                  <a:pt x="366" y="372"/>
                </a:lnTo>
                <a:lnTo>
                  <a:pt x="366" y="372"/>
                </a:lnTo>
                <a:lnTo>
                  <a:pt x="373" y="377"/>
                </a:lnTo>
                <a:lnTo>
                  <a:pt x="378" y="382"/>
                </a:lnTo>
                <a:lnTo>
                  <a:pt x="385" y="388"/>
                </a:lnTo>
                <a:lnTo>
                  <a:pt x="389" y="394"/>
                </a:lnTo>
                <a:lnTo>
                  <a:pt x="434" y="394"/>
                </a:lnTo>
                <a:lnTo>
                  <a:pt x="434" y="394"/>
                </a:lnTo>
                <a:lnTo>
                  <a:pt x="447" y="395"/>
                </a:lnTo>
                <a:lnTo>
                  <a:pt x="458" y="398"/>
                </a:lnTo>
                <a:lnTo>
                  <a:pt x="469" y="402"/>
                </a:lnTo>
                <a:lnTo>
                  <a:pt x="479" y="407"/>
                </a:lnTo>
                <a:lnTo>
                  <a:pt x="487" y="415"/>
                </a:lnTo>
                <a:lnTo>
                  <a:pt x="492" y="422"/>
                </a:lnTo>
                <a:lnTo>
                  <a:pt x="496" y="431"/>
                </a:lnTo>
                <a:lnTo>
                  <a:pt x="498" y="435"/>
                </a:lnTo>
                <a:lnTo>
                  <a:pt x="498" y="440"/>
                </a:lnTo>
                <a:lnTo>
                  <a:pt x="498" y="440"/>
                </a:lnTo>
                <a:lnTo>
                  <a:pt x="498" y="445"/>
                </a:lnTo>
                <a:lnTo>
                  <a:pt x="496" y="449"/>
                </a:lnTo>
                <a:lnTo>
                  <a:pt x="492" y="458"/>
                </a:lnTo>
                <a:lnTo>
                  <a:pt x="487" y="466"/>
                </a:lnTo>
                <a:lnTo>
                  <a:pt x="479" y="472"/>
                </a:lnTo>
                <a:lnTo>
                  <a:pt x="469" y="478"/>
                </a:lnTo>
                <a:lnTo>
                  <a:pt x="458" y="482"/>
                </a:lnTo>
                <a:lnTo>
                  <a:pt x="447" y="485"/>
                </a:lnTo>
                <a:lnTo>
                  <a:pt x="434" y="486"/>
                </a:lnTo>
                <a:lnTo>
                  <a:pt x="434" y="486"/>
                </a:lnTo>
                <a:close/>
                <a:moveTo>
                  <a:pt x="908" y="436"/>
                </a:moveTo>
                <a:lnTo>
                  <a:pt x="908" y="436"/>
                </a:lnTo>
                <a:lnTo>
                  <a:pt x="901" y="445"/>
                </a:lnTo>
                <a:lnTo>
                  <a:pt x="892" y="452"/>
                </a:lnTo>
                <a:lnTo>
                  <a:pt x="882" y="457"/>
                </a:lnTo>
                <a:lnTo>
                  <a:pt x="872" y="460"/>
                </a:lnTo>
                <a:lnTo>
                  <a:pt x="861" y="461"/>
                </a:lnTo>
                <a:lnTo>
                  <a:pt x="850" y="460"/>
                </a:lnTo>
                <a:lnTo>
                  <a:pt x="839" y="457"/>
                </a:lnTo>
                <a:lnTo>
                  <a:pt x="829" y="452"/>
                </a:lnTo>
                <a:lnTo>
                  <a:pt x="829" y="452"/>
                </a:lnTo>
                <a:lnTo>
                  <a:pt x="821" y="444"/>
                </a:lnTo>
                <a:lnTo>
                  <a:pt x="813" y="435"/>
                </a:lnTo>
                <a:lnTo>
                  <a:pt x="809" y="426"/>
                </a:lnTo>
                <a:lnTo>
                  <a:pt x="805" y="416"/>
                </a:lnTo>
                <a:lnTo>
                  <a:pt x="804" y="405"/>
                </a:lnTo>
                <a:lnTo>
                  <a:pt x="805" y="393"/>
                </a:lnTo>
                <a:lnTo>
                  <a:pt x="809" y="383"/>
                </a:lnTo>
                <a:lnTo>
                  <a:pt x="814" y="373"/>
                </a:lnTo>
                <a:lnTo>
                  <a:pt x="814" y="373"/>
                </a:lnTo>
                <a:lnTo>
                  <a:pt x="822" y="364"/>
                </a:lnTo>
                <a:lnTo>
                  <a:pt x="830" y="358"/>
                </a:lnTo>
                <a:lnTo>
                  <a:pt x="840" y="352"/>
                </a:lnTo>
                <a:lnTo>
                  <a:pt x="850" y="349"/>
                </a:lnTo>
                <a:lnTo>
                  <a:pt x="861" y="348"/>
                </a:lnTo>
                <a:lnTo>
                  <a:pt x="872" y="349"/>
                </a:lnTo>
                <a:lnTo>
                  <a:pt x="882" y="352"/>
                </a:lnTo>
                <a:lnTo>
                  <a:pt x="892" y="358"/>
                </a:lnTo>
                <a:lnTo>
                  <a:pt x="892" y="358"/>
                </a:lnTo>
                <a:lnTo>
                  <a:pt x="902" y="365"/>
                </a:lnTo>
                <a:lnTo>
                  <a:pt x="908" y="374"/>
                </a:lnTo>
                <a:lnTo>
                  <a:pt x="914" y="383"/>
                </a:lnTo>
                <a:lnTo>
                  <a:pt x="917" y="393"/>
                </a:lnTo>
                <a:lnTo>
                  <a:pt x="918" y="405"/>
                </a:lnTo>
                <a:lnTo>
                  <a:pt x="917" y="416"/>
                </a:lnTo>
                <a:lnTo>
                  <a:pt x="914" y="426"/>
                </a:lnTo>
                <a:lnTo>
                  <a:pt x="908" y="436"/>
                </a:lnTo>
                <a:lnTo>
                  <a:pt x="908" y="436"/>
                </a:lnTo>
                <a:close/>
                <a:moveTo>
                  <a:pt x="904" y="239"/>
                </a:moveTo>
                <a:lnTo>
                  <a:pt x="904" y="239"/>
                </a:lnTo>
                <a:lnTo>
                  <a:pt x="912" y="230"/>
                </a:lnTo>
                <a:lnTo>
                  <a:pt x="920" y="222"/>
                </a:lnTo>
                <a:lnTo>
                  <a:pt x="930" y="218"/>
                </a:lnTo>
                <a:lnTo>
                  <a:pt x="941" y="215"/>
                </a:lnTo>
                <a:lnTo>
                  <a:pt x="952" y="214"/>
                </a:lnTo>
                <a:lnTo>
                  <a:pt x="963" y="215"/>
                </a:lnTo>
                <a:lnTo>
                  <a:pt x="973" y="218"/>
                </a:lnTo>
                <a:lnTo>
                  <a:pt x="983" y="223"/>
                </a:lnTo>
                <a:lnTo>
                  <a:pt x="983" y="223"/>
                </a:lnTo>
                <a:lnTo>
                  <a:pt x="992" y="231"/>
                </a:lnTo>
                <a:lnTo>
                  <a:pt x="1000" y="240"/>
                </a:lnTo>
                <a:lnTo>
                  <a:pt x="1004" y="249"/>
                </a:lnTo>
                <a:lnTo>
                  <a:pt x="1007" y="259"/>
                </a:lnTo>
                <a:lnTo>
                  <a:pt x="1008" y="270"/>
                </a:lnTo>
                <a:lnTo>
                  <a:pt x="1007" y="281"/>
                </a:lnTo>
                <a:lnTo>
                  <a:pt x="1004" y="292"/>
                </a:lnTo>
                <a:lnTo>
                  <a:pt x="998" y="302"/>
                </a:lnTo>
                <a:lnTo>
                  <a:pt x="998" y="302"/>
                </a:lnTo>
                <a:lnTo>
                  <a:pt x="991" y="311"/>
                </a:lnTo>
                <a:lnTo>
                  <a:pt x="982" y="318"/>
                </a:lnTo>
                <a:lnTo>
                  <a:pt x="972" y="323"/>
                </a:lnTo>
                <a:lnTo>
                  <a:pt x="963" y="326"/>
                </a:lnTo>
                <a:lnTo>
                  <a:pt x="952" y="327"/>
                </a:lnTo>
                <a:lnTo>
                  <a:pt x="941" y="326"/>
                </a:lnTo>
                <a:lnTo>
                  <a:pt x="930" y="323"/>
                </a:lnTo>
                <a:lnTo>
                  <a:pt x="920" y="318"/>
                </a:lnTo>
                <a:lnTo>
                  <a:pt x="920" y="318"/>
                </a:lnTo>
                <a:lnTo>
                  <a:pt x="911" y="310"/>
                </a:lnTo>
                <a:lnTo>
                  <a:pt x="904" y="301"/>
                </a:lnTo>
                <a:lnTo>
                  <a:pt x="899" y="292"/>
                </a:lnTo>
                <a:lnTo>
                  <a:pt x="895" y="281"/>
                </a:lnTo>
                <a:lnTo>
                  <a:pt x="894" y="270"/>
                </a:lnTo>
                <a:lnTo>
                  <a:pt x="895" y="259"/>
                </a:lnTo>
                <a:lnTo>
                  <a:pt x="899" y="248"/>
                </a:lnTo>
                <a:lnTo>
                  <a:pt x="904" y="239"/>
                </a:lnTo>
                <a:lnTo>
                  <a:pt x="904" y="239"/>
                </a:lnTo>
                <a:close/>
                <a:moveTo>
                  <a:pt x="1033" y="521"/>
                </a:moveTo>
                <a:lnTo>
                  <a:pt x="1033" y="521"/>
                </a:lnTo>
                <a:lnTo>
                  <a:pt x="1027" y="529"/>
                </a:lnTo>
                <a:lnTo>
                  <a:pt x="1018" y="536"/>
                </a:lnTo>
                <a:lnTo>
                  <a:pt x="1008" y="541"/>
                </a:lnTo>
                <a:lnTo>
                  <a:pt x="997" y="545"/>
                </a:lnTo>
                <a:lnTo>
                  <a:pt x="987" y="546"/>
                </a:lnTo>
                <a:lnTo>
                  <a:pt x="976" y="545"/>
                </a:lnTo>
                <a:lnTo>
                  <a:pt x="965" y="541"/>
                </a:lnTo>
                <a:lnTo>
                  <a:pt x="955" y="536"/>
                </a:lnTo>
                <a:lnTo>
                  <a:pt x="955" y="536"/>
                </a:lnTo>
                <a:lnTo>
                  <a:pt x="946" y="528"/>
                </a:lnTo>
                <a:lnTo>
                  <a:pt x="939" y="520"/>
                </a:lnTo>
                <a:lnTo>
                  <a:pt x="933" y="510"/>
                </a:lnTo>
                <a:lnTo>
                  <a:pt x="931" y="500"/>
                </a:lnTo>
                <a:lnTo>
                  <a:pt x="930" y="489"/>
                </a:lnTo>
                <a:lnTo>
                  <a:pt x="931" y="479"/>
                </a:lnTo>
                <a:lnTo>
                  <a:pt x="934" y="468"/>
                </a:lnTo>
                <a:lnTo>
                  <a:pt x="940" y="457"/>
                </a:lnTo>
                <a:lnTo>
                  <a:pt x="940" y="457"/>
                </a:lnTo>
                <a:lnTo>
                  <a:pt x="946" y="448"/>
                </a:lnTo>
                <a:lnTo>
                  <a:pt x="955" y="442"/>
                </a:lnTo>
                <a:lnTo>
                  <a:pt x="965" y="436"/>
                </a:lnTo>
                <a:lnTo>
                  <a:pt x="976" y="433"/>
                </a:lnTo>
                <a:lnTo>
                  <a:pt x="987" y="432"/>
                </a:lnTo>
                <a:lnTo>
                  <a:pt x="997" y="433"/>
                </a:lnTo>
                <a:lnTo>
                  <a:pt x="1008" y="436"/>
                </a:lnTo>
                <a:lnTo>
                  <a:pt x="1018" y="442"/>
                </a:lnTo>
                <a:lnTo>
                  <a:pt x="1018" y="442"/>
                </a:lnTo>
                <a:lnTo>
                  <a:pt x="1027" y="449"/>
                </a:lnTo>
                <a:lnTo>
                  <a:pt x="1034" y="458"/>
                </a:lnTo>
                <a:lnTo>
                  <a:pt x="1040" y="468"/>
                </a:lnTo>
                <a:lnTo>
                  <a:pt x="1042" y="479"/>
                </a:lnTo>
                <a:lnTo>
                  <a:pt x="1043" y="489"/>
                </a:lnTo>
                <a:lnTo>
                  <a:pt x="1042" y="500"/>
                </a:lnTo>
                <a:lnTo>
                  <a:pt x="1039" y="510"/>
                </a:lnTo>
                <a:lnTo>
                  <a:pt x="1033" y="521"/>
                </a:lnTo>
                <a:lnTo>
                  <a:pt x="1033" y="521"/>
                </a:lnTo>
                <a:close/>
                <a:moveTo>
                  <a:pt x="1124" y="387"/>
                </a:moveTo>
                <a:lnTo>
                  <a:pt x="1124" y="387"/>
                </a:lnTo>
                <a:lnTo>
                  <a:pt x="1117" y="395"/>
                </a:lnTo>
                <a:lnTo>
                  <a:pt x="1108" y="402"/>
                </a:lnTo>
                <a:lnTo>
                  <a:pt x="1098" y="407"/>
                </a:lnTo>
                <a:lnTo>
                  <a:pt x="1088" y="410"/>
                </a:lnTo>
                <a:lnTo>
                  <a:pt x="1078" y="412"/>
                </a:lnTo>
                <a:lnTo>
                  <a:pt x="1067" y="410"/>
                </a:lnTo>
                <a:lnTo>
                  <a:pt x="1056" y="407"/>
                </a:lnTo>
                <a:lnTo>
                  <a:pt x="1045" y="402"/>
                </a:lnTo>
                <a:lnTo>
                  <a:pt x="1045" y="402"/>
                </a:lnTo>
                <a:lnTo>
                  <a:pt x="1036" y="394"/>
                </a:lnTo>
                <a:lnTo>
                  <a:pt x="1030" y="386"/>
                </a:lnTo>
                <a:lnTo>
                  <a:pt x="1024" y="376"/>
                </a:lnTo>
                <a:lnTo>
                  <a:pt x="1021" y="365"/>
                </a:lnTo>
                <a:lnTo>
                  <a:pt x="1020" y="354"/>
                </a:lnTo>
                <a:lnTo>
                  <a:pt x="1021" y="343"/>
                </a:lnTo>
                <a:lnTo>
                  <a:pt x="1024" y="334"/>
                </a:lnTo>
                <a:lnTo>
                  <a:pt x="1030" y="323"/>
                </a:lnTo>
                <a:lnTo>
                  <a:pt x="1030" y="323"/>
                </a:lnTo>
                <a:lnTo>
                  <a:pt x="1037" y="314"/>
                </a:lnTo>
                <a:lnTo>
                  <a:pt x="1046" y="308"/>
                </a:lnTo>
                <a:lnTo>
                  <a:pt x="1056" y="302"/>
                </a:lnTo>
                <a:lnTo>
                  <a:pt x="1067" y="299"/>
                </a:lnTo>
                <a:lnTo>
                  <a:pt x="1078" y="298"/>
                </a:lnTo>
                <a:lnTo>
                  <a:pt x="1088" y="299"/>
                </a:lnTo>
                <a:lnTo>
                  <a:pt x="1099" y="302"/>
                </a:lnTo>
                <a:lnTo>
                  <a:pt x="1109" y="308"/>
                </a:lnTo>
                <a:lnTo>
                  <a:pt x="1109" y="308"/>
                </a:lnTo>
                <a:lnTo>
                  <a:pt x="1118" y="315"/>
                </a:lnTo>
                <a:lnTo>
                  <a:pt x="1125" y="324"/>
                </a:lnTo>
                <a:lnTo>
                  <a:pt x="1130" y="334"/>
                </a:lnTo>
                <a:lnTo>
                  <a:pt x="1133" y="343"/>
                </a:lnTo>
                <a:lnTo>
                  <a:pt x="1134" y="354"/>
                </a:lnTo>
                <a:lnTo>
                  <a:pt x="1133" y="366"/>
                </a:lnTo>
                <a:lnTo>
                  <a:pt x="1130" y="376"/>
                </a:lnTo>
                <a:lnTo>
                  <a:pt x="1124" y="387"/>
                </a:lnTo>
                <a:lnTo>
                  <a:pt x="1124" y="387"/>
                </a:lnTo>
                <a:close/>
                <a:moveTo>
                  <a:pt x="1250" y="471"/>
                </a:moveTo>
                <a:lnTo>
                  <a:pt x="1250" y="471"/>
                </a:lnTo>
                <a:lnTo>
                  <a:pt x="1242" y="480"/>
                </a:lnTo>
                <a:lnTo>
                  <a:pt x="1234" y="486"/>
                </a:lnTo>
                <a:lnTo>
                  <a:pt x="1224" y="492"/>
                </a:lnTo>
                <a:lnTo>
                  <a:pt x="1214" y="495"/>
                </a:lnTo>
                <a:lnTo>
                  <a:pt x="1203" y="496"/>
                </a:lnTo>
                <a:lnTo>
                  <a:pt x="1191" y="495"/>
                </a:lnTo>
                <a:lnTo>
                  <a:pt x="1182" y="492"/>
                </a:lnTo>
                <a:lnTo>
                  <a:pt x="1171" y="486"/>
                </a:lnTo>
                <a:lnTo>
                  <a:pt x="1171" y="486"/>
                </a:lnTo>
                <a:lnTo>
                  <a:pt x="1162" y="479"/>
                </a:lnTo>
                <a:lnTo>
                  <a:pt x="1156" y="470"/>
                </a:lnTo>
                <a:lnTo>
                  <a:pt x="1150" y="460"/>
                </a:lnTo>
                <a:lnTo>
                  <a:pt x="1147" y="451"/>
                </a:lnTo>
                <a:lnTo>
                  <a:pt x="1146" y="440"/>
                </a:lnTo>
                <a:lnTo>
                  <a:pt x="1147" y="428"/>
                </a:lnTo>
                <a:lnTo>
                  <a:pt x="1150" y="418"/>
                </a:lnTo>
                <a:lnTo>
                  <a:pt x="1156" y="407"/>
                </a:lnTo>
                <a:lnTo>
                  <a:pt x="1156" y="407"/>
                </a:lnTo>
                <a:lnTo>
                  <a:pt x="1163" y="399"/>
                </a:lnTo>
                <a:lnTo>
                  <a:pt x="1172" y="392"/>
                </a:lnTo>
                <a:lnTo>
                  <a:pt x="1182" y="387"/>
                </a:lnTo>
                <a:lnTo>
                  <a:pt x="1191" y="383"/>
                </a:lnTo>
                <a:lnTo>
                  <a:pt x="1202" y="382"/>
                </a:lnTo>
                <a:lnTo>
                  <a:pt x="1214" y="383"/>
                </a:lnTo>
                <a:lnTo>
                  <a:pt x="1224" y="387"/>
                </a:lnTo>
                <a:lnTo>
                  <a:pt x="1235" y="392"/>
                </a:lnTo>
                <a:lnTo>
                  <a:pt x="1235" y="392"/>
                </a:lnTo>
                <a:lnTo>
                  <a:pt x="1243" y="400"/>
                </a:lnTo>
                <a:lnTo>
                  <a:pt x="1250" y="408"/>
                </a:lnTo>
                <a:lnTo>
                  <a:pt x="1255" y="418"/>
                </a:lnTo>
                <a:lnTo>
                  <a:pt x="1259" y="428"/>
                </a:lnTo>
                <a:lnTo>
                  <a:pt x="1260" y="439"/>
                </a:lnTo>
                <a:lnTo>
                  <a:pt x="1259" y="451"/>
                </a:lnTo>
                <a:lnTo>
                  <a:pt x="1255" y="460"/>
                </a:lnTo>
                <a:lnTo>
                  <a:pt x="1250" y="471"/>
                </a:lnTo>
                <a:lnTo>
                  <a:pt x="1250" y="47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4937377" y="963128"/>
            <a:ext cx="3851189" cy="96180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300"/>
              </a:spcAft>
            </a:pP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=</a:t>
            </a:r>
            <a:r>
              <a:rPr lang="en-US" sz="1200" b="1" dirty="0">
                <a:solidFill>
                  <a:srgbClr val="0070C0"/>
                </a:solidFill>
                <a:latin typeface="Georgia" panose="02040502050405020303" pitchFamily="18" charset="0"/>
              </a:rPr>
              <a:t>IF</a:t>
            </a: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(</a:t>
            </a:r>
            <a:r>
              <a:rPr lang="en-US" sz="1200" dirty="0">
                <a:solidFill>
                  <a:schemeClr val="bg2"/>
                </a:solidFill>
                <a:latin typeface="Georgia" panose="02040502050405020303" pitchFamily="18" charset="0"/>
              </a:rPr>
              <a:t>Logical Test,</a:t>
            </a: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US" sz="1200" dirty="0">
                <a:solidFill>
                  <a:schemeClr val="tx1"/>
                </a:solidFill>
                <a:latin typeface="Georgia" panose="02040502050405020303" pitchFamily="18" charset="0"/>
              </a:rPr>
              <a:t>IF</a:t>
            </a: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(</a:t>
            </a:r>
            <a:r>
              <a:rPr lang="en-US" sz="1200" dirty="0">
                <a:solidFill>
                  <a:schemeClr val="bg2"/>
                </a:solidFill>
                <a:latin typeface="Georgia" panose="02040502050405020303" pitchFamily="18" charset="0"/>
              </a:rPr>
              <a:t>Logical Test,</a:t>
            </a: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US" sz="1200" dirty="0">
                <a:solidFill>
                  <a:schemeClr val="tx1"/>
                </a:solidFill>
                <a:latin typeface="Georgia" panose="02040502050405020303" pitchFamily="18" charset="0"/>
              </a:rPr>
              <a:t>Value if true, Value if </a:t>
            </a:r>
            <a:r>
              <a:rPr lang="en-US" sz="1200" dirty="0" smtClean="0">
                <a:solidFill>
                  <a:schemeClr val="tx1"/>
                </a:solidFill>
                <a:latin typeface="Georgia" panose="02040502050405020303" pitchFamily="18" charset="0"/>
              </a:rPr>
              <a:t>false</a:t>
            </a:r>
            <a:r>
              <a:rPr lang="en-US" sz="1200" dirty="0" smtClean="0">
                <a:solidFill>
                  <a:schemeClr val="tx2"/>
                </a:solidFill>
                <a:latin typeface="Georgia" panose="02040502050405020303" pitchFamily="18" charset="0"/>
              </a:rPr>
              <a:t>),</a:t>
            </a:r>
            <a:r>
              <a:rPr lang="en-US" sz="1200" dirty="0" smtClean="0">
                <a:solidFill>
                  <a:schemeClr val="tx1"/>
                </a:solidFill>
                <a:latin typeface="Georgia" panose="02040502050405020303" pitchFamily="18" charset="0"/>
              </a:rPr>
              <a:t> </a:t>
            </a:r>
            <a:r>
              <a:rPr lang="en-US" sz="1200" dirty="0">
                <a:solidFill>
                  <a:schemeClr val="tx1"/>
                </a:solidFill>
                <a:latin typeface="Georgia" panose="02040502050405020303" pitchFamily="18" charset="0"/>
              </a:rPr>
              <a:t>Value if </a:t>
            </a:r>
            <a:r>
              <a:rPr lang="en-US" sz="1200" dirty="0" smtClean="0">
                <a:solidFill>
                  <a:schemeClr val="tx1"/>
                </a:solidFill>
                <a:latin typeface="Georgia" panose="02040502050405020303" pitchFamily="18" charset="0"/>
              </a:rPr>
              <a:t>false</a:t>
            </a:r>
            <a:r>
              <a:rPr lang="en-US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)</a:t>
            </a:r>
            <a:endParaRPr lang="en-US" sz="1200" dirty="0">
              <a:solidFill>
                <a:schemeClr val="bg1"/>
              </a:solidFill>
              <a:latin typeface="Georgia" panose="02040502050405020303" pitchFamily="18" charset="0"/>
            </a:endParaRPr>
          </a:p>
          <a:p>
            <a:pPr>
              <a:spcAft>
                <a:spcPts val="300"/>
              </a:spcAft>
            </a:pP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=</a:t>
            </a:r>
            <a:r>
              <a:rPr lang="en-US" sz="1200" b="1" dirty="0">
                <a:solidFill>
                  <a:srgbClr val="0070C0"/>
                </a:solidFill>
                <a:latin typeface="Georgia" panose="02040502050405020303" pitchFamily="18" charset="0"/>
              </a:rPr>
              <a:t>IF</a:t>
            </a: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(</a:t>
            </a:r>
            <a:r>
              <a:rPr lang="en-US" sz="1200" dirty="0">
                <a:solidFill>
                  <a:schemeClr val="bg2"/>
                </a:solidFill>
                <a:latin typeface="Georgia" panose="02040502050405020303" pitchFamily="18" charset="0"/>
              </a:rPr>
              <a:t>Logical Test,</a:t>
            </a: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US" sz="1200" dirty="0">
                <a:solidFill>
                  <a:schemeClr val="tx1"/>
                </a:solidFill>
                <a:latin typeface="Georgia" panose="02040502050405020303" pitchFamily="18" charset="0"/>
              </a:rPr>
              <a:t>IF</a:t>
            </a: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(</a:t>
            </a:r>
            <a:r>
              <a:rPr lang="en-US" sz="1200" dirty="0">
                <a:solidFill>
                  <a:schemeClr val="bg2"/>
                </a:solidFill>
                <a:latin typeface="Georgia" panose="02040502050405020303" pitchFamily="18" charset="0"/>
              </a:rPr>
              <a:t>Logical Test,</a:t>
            </a: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US" sz="1200" dirty="0">
                <a:solidFill>
                  <a:schemeClr val="tx1"/>
                </a:solidFill>
                <a:latin typeface="Georgia" panose="02040502050405020303" pitchFamily="18" charset="0"/>
              </a:rPr>
              <a:t>Outcome if both tests are true, Outcome if only </a:t>
            </a:r>
            <a:r>
              <a:rPr lang="en-US" sz="1200" dirty="0" smtClean="0">
                <a:solidFill>
                  <a:schemeClr val="tx1"/>
                </a:solidFill>
                <a:latin typeface="Georgia" panose="02040502050405020303" pitchFamily="18" charset="0"/>
              </a:rPr>
              <a:t>first </a:t>
            </a:r>
            <a:r>
              <a:rPr lang="en-US" sz="1200" dirty="0">
                <a:solidFill>
                  <a:schemeClr val="tx1"/>
                </a:solidFill>
                <a:latin typeface="Georgia" panose="02040502050405020303" pitchFamily="18" charset="0"/>
              </a:rPr>
              <a:t>test is true</a:t>
            </a: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), </a:t>
            </a:r>
            <a:r>
              <a:rPr lang="en-US" sz="1200" dirty="0">
                <a:solidFill>
                  <a:schemeClr val="tx1"/>
                </a:solidFill>
                <a:latin typeface="Georgia" panose="02040502050405020303" pitchFamily="18" charset="0"/>
              </a:rPr>
              <a:t>Outcome if first test is not true</a:t>
            </a: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)</a:t>
            </a:r>
          </a:p>
        </p:txBody>
      </p:sp>
      <p:sp>
        <p:nvSpPr>
          <p:cNvPr id="30" name="Freeform 211"/>
          <p:cNvSpPr>
            <a:spLocks noEditPoints="1"/>
          </p:cNvSpPr>
          <p:nvPr/>
        </p:nvSpPr>
        <p:spPr bwMode="auto">
          <a:xfrm>
            <a:off x="8563220" y="4359275"/>
            <a:ext cx="225345" cy="377168"/>
          </a:xfrm>
          <a:custGeom>
            <a:avLst/>
            <a:gdLst>
              <a:gd name="T0" fmla="*/ 223 w 512"/>
              <a:gd name="T1" fmla="*/ 95 h 766"/>
              <a:gd name="T2" fmla="*/ 159 w 512"/>
              <a:gd name="T3" fmla="*/ 95 h 766"/>
              <a:gd name="T4" fmla="*/ 159 w 512"/>
              <a:gd name="T5" fmla="*/ 160 h 766"/>
              <a:gd name="T6" fmla="*/ 223 w 512"/>
              <a:gd name="T7" fmla="*/ 160 h 766"/>
              <a:gd name="T8" fmla="*/ 223 w 512"/>
              <a:gd name="T9" fmla="*/ 95 h 766"/>
              <a:gd name="T10" fmla="*/ 352 w 512"/>
              <a:gd name="T11" fmla="*/ 95 h 766"/>
              <a:gd name="T12" fmla="*/ 287 w 512"/>
              <a:gd name="T13" fmla="*/ 95 h 766"/>
              <a:gd name="T14" fmla="*/ 287 w 512"/>
              <a:gd name="T15" fmla="*/ 160 h 766"/>
              <a:gd name="T16" fmla="*/ 352 w 512"/>
              <a:gd name="T17" fmla="*/ 160 h 766"/>
              <a:gd name="T18" fmla="*/ 352 w 512"/>
              <a:gd name="T19" fmla="*/ 95 h 766"/>
              <a:gd name="T20" fmla="*/ 448 w 512"/>
              <a:gd name="T21" fmla="*/ 223 h 766"/>
              <a:gd name="T22" fmla="*/ 448 w 512"/>
              <a:gd name="T23" fmla="*/ 0 h 766"/>
              <a:gd name="T24" fmla="*/ 63 w 512"/>
              <a:gd name="T25" fmla="*/ 0 h 766"/>
              <a:gd name="T26" fmla="*/ 63 w 512"/>
              <a:gd name="T27" fmla="*/ 223 h 766"/>
              <a:gd name="T28" fmla="*/ 63 w 512"/>
              <a:gd name="T29" fmla="*/ 223 h 766"/>
              <a:gd name="T30" fmla="*/ 50 w 512"/>
              <a:gd name="T31" fmla="*/ 224 h 766"/>
              <a:gd name="T32" fmla="*/ 39 w 512"/>
              <a:gd name="T33" fmla="*/ 228 h 766"/>
              <a:gd name="T34" fmla="*/ 27 w 512"/>
              <a:gd name="T35" fmla="*/ 234 h 766"/>
              <a:gd name="T36" fmla="*/ 19 w 512"/>
              <a:gd name="T37" fmla="*/ 241 h 766"/>
              <a:gd name="T38" fmla="*/ 10 w 512"/>
              <a:gd name="T39" fmla="*/ 251 h 766"/>
              <a:gd name="T40" fmla="*/ 4 w 512"/>
              <a:gd name="T41" fmla="*/ 262 h 766"/>
              <a:gd name="T42" fmla="*/ 1 w 512"/>
              <a:gd name="T43" fmla="*/ 274 h 766"/>
              <a:gd name="T44" fmla="*/ 0 w 512"/>
              <a:gd name="T45" fmla="*/ 287 h 766"/>
              <a:gd name="T46" fmla="*/ 0 w 512"/>
              <a:gd name="T47" fmla="*/ 703 h 766"/>
              <a:gd name="T48" fmla="*/ 0 w 512"/>
              <a:gd name="T49" fmla="*/ 703 h 766"/>
              <a:gd name="T50" fmla="*/ 1 w 512"/>
              <a:gd name="T51" fmla="*/ 716 h 766"/>
              <a:gd name="T52" fmla="*/ 4 w 512"/>
              <a:gd name="T53" fmla="*/ 728 h 766"/>
              <a:gd name="T54" fmla="*/ 10 w 512"/>
              <a:gd name="T55" fmla="*/ 739 h 766"/>
              <a:gd name="T56" fmla="*/ 19 w 512"/>
              <a:gd name="T57" fmla="*/ 748 h 766"/>
              <a:gd name="T58" fmla="*/ 27 w 512"/>
              <a:gd name="T59" fmla="*/ 756 h 766"/>
              <a:gd name="T60" fmla="*/ 39 w 512"/>
              <a:gd name="T61" fmla="*/ 762 h 766"/>
              <a:gd name="T62" fmla="*/ 50 w 512"/>
              <a:gd name="T63" fmla="*/ 765 h 766"/>
              <a:gd name="T64" fmla="*/ 63 w 512"/>
              <a:gd name="T65" fmla="*/ 766 h 766"/>
              <a:gd name="T66" fmla="*/ 448 w 512"/>
              <a:gd name="T67" fmla="*/ 766 h 766"/>
              <a:gd name="T68" fmla="*/ 448 w 512"/>
              <a:gd name="T69" fmla="*/ 766 h 766"/>
              <a:gd name="T70" fmla="*/ 460 w 512"/>
              <a:gd name="T71" fmla="*/ 765 h 766"/>
              <a:gd name="T72" fmla="*/ 472 w 512"/>
              <a:gd name="T73" fmla="*/ 762 h 766"/>
              <a:gd name="T74" fmla="*/ 483 w 512"/>
              <a:gd name="T75" fmla="*/ 756 h 766"/>
              <a:gd name="T76" fmla="*/ 492 w 512"/>
              <a:gd name="T77" fmla="*/ 748 h 766"/>
              <a:gd name="T78" fmla="*/ 501 w 512"/>
              <a:gd name="T79" fmla="*/ 739 h 766"/>
              <a:gd name="T80" fmla="*/ 507 w 512"/>
              <a:gd name="T81" fmla="*/ 728 h 766"/>
              <a:gd name="T82" fmla="*/ 510 w 512"/>
              <a:gd name="T83" fmla="*/ 716 h 766"/>
              <a:gd name="T84" fmla="*/ 512 w 512"/>
              <a:gd name="T85" fmla="*/ 703 h 766"/>
              <a:gd name="T86" fmla="*/ 512 w 512"/>
              <a:gd name="T87" fmla="*/ 287 h 766"/>
              <a:gd name="T88" fmla="*/ 512 w 512"/>
              <a:gd name="T89" fmla="*/ 287 h 766"/>
              <a:gd name="T90" fmla="*/ 510 w 512"/>
              <a:gd name="T91" fmla="*/ 274 h 766"/>
              <a:gd name="T92" fmla="*/ 507 w 512"/>
              <a:gd name="T93" fmla="*/ 262 h 766"/>
              <a:gd name="T94" fmla="*/ 501 w 512"/>
              <a:gd name="T95" fmla="*/ 251 h 766"/>
              <a:gd name="T96" fmla="*/ 492 w 512"/>
              <a:gd name="T97" fmla="*/ 241 h 766"/>
              <a:gd name="T98" fmla="*/ 483 w 512"/>
              <a:gd name="T99" fmla="*/ 234 h 766"/>
              <a:gd name="T100" fmla="*/ 472 w 512"/>
              <a:gd name="T101" fmla="*/ 228 h 766"/>
              <a:gd name="T102" fmla="*/ 460 w 512"/>
              <a:gd name="T103" fmla="*/ 224 h 766"/>
              <a:gd name="T104" fmla="*/ 448 w 512"/>
              <a:gd name="T105" fmla="*/ 223 h 766"/>
              <a:gd name="T106" fmla="*/ 448 w 512"/>
              <a:gd name="T107" fmla="*/ 223 h 766"/>
              <a:gd name="T108" fmla="*/ 400 w 512"/>
              <a:gd name="T109" fmla="*/ 223 h 766"/>
              <a:gd name="T110" fmla="*/ 111 w 512"/>
              <a:gd name="T111" fmla="*/ 223 h 766"/>
              <a:gd name="T112" fmla="*/ 111 w 512"/>
              <a:gd name="T113" fmla="*/ 47 h 766"/>
              <a:gd name="T114" fmla="*/ 400 w 512"/>
              <a:gd name="T115" fmla="*/ 47 h 766"/>
              <a:gd name="T116" fmla="*/ 400 w 512"/>
              <a:gd name="T117" fmla="*/ 223 h 7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12" h="766">
                <a:moveTo>
                  <a:pt x="223" y="95"/>
                </a:moveTo>
                <a:lnTo>
                  <a:pt x="159" y="95"/>
                </a:lnTo>
                <a:lnTo>
                  <a:pt x="159" y="160"/>
                </a:lnTo>
                <a:lnTo>
                  <a:pt x="223" y="160"/>
                </a:lnTo>
                <a:lnTo>
                  <a:pt x="223" y="95"/>
                </a:lnTo>
                <a:close/>
                <a:moveTo>
                  <a:pt x="352" y="95"/>
                </a:moveTo>
                <a:lnTo>
                  <a:pt x="287" y="95"/>
                </a:lnTo>
                <a:lnTo>
                  <a:pt x="287" y="160"/>
                </a:lnTo>
                <a:lnTo>
                  <a:pt x="352" y="160"/>
                </a:lnTo>
                <a:lnTo>
                  <a:pt x="352" y="95"/>
                </a:lnTo>
                <a:close/>
                <a:moveTo>
                  <a:pt x="448" y="223"/>
                </a:moveTo>
                <a:lnTo>
                  <a:pt x="448" y="0"/>
                </a:lnTo>
                <a:lnTo>
                  <a:pt x="63" y="0"/>
                </a:lnTo>
                <a:lnTo>
                  <a:pt x="63" y="223"/>
                </a:lnTo>
                <a:lnTo>
                  <a:pt x="63" y="223"/>
                </a:lnTo>
                <a:lnTo>
                  <a:pt x="50" y="224"/>
                </a:lnTo>
                <a:lnTo>
                  <a:pt x="39" y="228"/>
                </a:lnTo>
                <a:lnTo>
                  <a:pt x="27" y="234"/>
                </a:lnTo>
                <a:lnTo>
                  <a:pt x="19" y="241"/>
                </a:lnTo>
                <a:lnTo>
                  <a:pt x="10" y="251"/>
                </a:lnTo>
                <a:lnTo>
                  <a:pt x="4" y="262"/>
                </a:lnTo>
                <a:lnTo>
                  <a:pt x="1" y="274"/>
                </a:lnTo>
                <a:lnTo>
                  <a:pt x="0" y="287"/>
                </a:lnTo>
                <a:lnTo>
                  <a:pt x="0" y="703"/>
                </a:lnTo>
                <a:lnTo>
                  <a:pt x="0" y="703"/>
                </a:lnTo>
                <a:lnTo>
                  <a:pt x="1" y="716"/>
                </a:lnTo>
                <a:lnTo>
                  <a:pt x="4" y="728"/>
                </a:lnTo>
                <a:lnTo>
                  <a:pt x="10" y="739"/>
                </a:lnTo>
                <a:lnTo>
                  <a:pt x="19" y="748"/>
                </a:lnTo>
                <a:lnTo>
                  <a:pt x="27" y="756"/>
                </a:lnTo>
                <a:lnTo>
                  <a:pt x="39" y="762"/>
                </a:lnTo>
                <a:lnTo>
                  <a:pt x="50" y="765"/>
                </a:lnTo>
                <a:lnTo>
                  <a:pt x="63" y="766"/>
                </a:lnTo>
                <a:lnTo>
                  <a:pt x="448" y="766"/>
                </a:lnTo>
                <a:lnTo>
                  <a:pt x="448" y="766"/>
                </a:lnTo>
                <a:lnTo>
                  <a:pt x="460" y="765"/>
                </a:lnTo>
                <a:lnTo>
                  <a:pt x="472" y="762"/>
                </a:lnTo>
                <a:lnTo>
                  <a:pt x="483" y="756"/>
                </a:lnTo>
                <a:lnTo>
                  <a:pt x="492" y="748"/>
                </a:lnTo>
                <a:lnTo>
                  <a:pt x="501" y="739"/>
                </a:lnTo>
                <a:lnTo>
                  <a:pt x="507" y="728"/>
                </a:lnTo>
                <a:lnTo>
                  <a:pt x="510" y="716"/>
                </a:lnTo>
                <a:lnTo>
                  <a:pt x="512" y="703"/>
                </a:lnTo>
                <a:lnTo>
                  <a:pt x="512" y="287"/>
                </a:lnTo>
                <a:lnTo>
                  <a:pt x="512" y="287"/>
                </a:lnTo>
                <a:lnTo>
                  <a:pt x="510" y="274"/>
                </a:lnTo>
                <a:lnTo>
                  <a:pt x="507" y="262"/>
                </a:lnTo>
                <a:lnTo>
                  <a:pt x="501" y="251"/>
                </a:lnTo>
                <a:lnTo>
                  <a:pt x="492" y="241"/>
                </a:lnTo>
                <a:lnTo>
                  <a:pt x="483" y="234"/>
                </a:lnTo>
                <a:lnTo>
                  <a:pt x="472" y="228"/>
                </a:lnTo>
                <a:lnTo>
                  <a:pt x="460" y="224"/>
                </a:lnTo>
                <a:lnTo>
                  <a:pt x="448" y="223"/>
                </a:lnTo>
                <a:lnTo>
                  <a:pt x="448" y="223"/>
                </a:lnTo>
                <a:close/>
                <a:moveTo>
                  <a:pt x="400" y="223"/>
                </a:moveTo>
                <a:lnTo>
                  <a:pt x="111" y="223"/>
                </a:lnTo>
                <a:lnTo>
                  <a:pt x="111" y="47"/>
                </a:lnTo>
                <a:lnTo>
                  <a:pt x="400" y="47"/>
                </a:lnTo>
                <a:lnTo>
                  <a:pt x="400" y="22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grpSp>
        <p:nvGrpSpPr>
          <p:cNvPr id="78" name="Group 77"/>
          <p:cNvGrpSpPr/>
          <p:nvPr/>
        </p:nvGrpSpPr>
        <p:grpSpPr>
          <a:xfrm>
            <a:off x="4741786" y="4839950"/>
            <a:ext cx="3333261" cy="124245"/>
            <a:chOff x="4741786" y="4807866"/>
            <a:chExt cx="3333261" cy="124245"/>
          </a:xfrm>
        </p:grpSpPr>
        <p:grpSp>
          <p:nvGrpSpPr>
            <p:cNvPr id="79" name="Group 78"/>
            <p:cNvGrpSpPr/>
            <p:nvPr/>
          </p:nvGrpSpPr>
          <p:grpSpPr>
            <a:xfrm>
              <a:off x="4741786" y="4807866"/>
              <a:ext cx="749501" cy="124245"/>
              <a:chOff x="4744137" y="4807866"/>
              <a:chExt cx="749501" cy="124245"/>
            </a:xfrm>
          </p:grpSpPr>
          <p:sp>
            <p:nvSpPr>
              <p:cNvPr id="87" name="Content Placeholder 2"/>
              <p:cNvSpPr txBox="1">
                <a:spLocks/>
              </p:cNvSpPr>
              <p:nvPr/>
            </p:nvSpPr>
            <p:spPr>
              <a:xfrm>
                <a:off x="4744137" y="4807866"/>
                <a:ext cx="289063" cy="124245"/>
              </a:xfrm>
              <a:prstGeom prst="rect">
                <a:avLst/>
              </a:prstGeom>
              <a:solidFill>
                <a:srgbClr val="0070C0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8" name="TextBox 87"/>
              <p:cNvSpPr txBox="1"/>
              <p:nvPr/>
            </p:nvSpPr>
            <p:spPr>
              <a:xfrm>
                <a:off x="5083269" y="4808433"/>
                <a:ext cx="41036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Function</a:t>
                </a:r>
              </a:p>
            </p:txBody>
          </p:sp>
        </p:grpSp>
        <p:grpSp>
          <p:nvGrpSpPr>
            <p:cNvPr id="80" name="Group 79"/>
            <p:cNvGrpSpPr/>
            <p:nvPr/>
          </p:nvGrpSpPr>
          <p:grpSpPr>
            <a:xfrm>
              <a:off x="5657762" y="4807866"/>
              <a:ext cx="964303" cy="124245"/>
              <a:chOff x="5639959" y="4807866"/>
              <a:chExt cx="964303" cy="124245"/>
            </a:xfrm>
          </p:grpSpPr>
          <p:sp>
            <p:nvSpPr>
              <p:cNvPr id="84" name="Content Placeholder 2"/>
              <p:cNvSpPr txBox="1">
                <a:spLocks/>
              </p:cNvSpPr>
              <p:nvPr/>
            </p:nvSpPr>
            <p:spPr>
              <a:xfrm>
                <a:off x="5639959" y="4807866"/>
                <a:ext cx="289063" cy="124245"/>
              </a:xfrm>
              <a:prstGeom prst="rect">
                <a:avLst/>
              </a:prstGeom>
              <a:solidFill>
                <a:schemeClr val="accent1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b="1" i="1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TextBox 84"/>
              <p:cNvSpPr txBox="1"/>
              <p:nvPr/>
            </p:nvSpPr>
            <p:spPr>
              <a:xfrm>
                <a:off x="5979091" y="4808433"/>
                <a:ext cx="625171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Input Criteria</a:t>
                </a:r>
              </a:p>
            </p:txBody>
          </p:sp>
        </p:grpSp>
        <p:grpSp>
          <p:nvGrpSpPr>
            <p:cNvPr id="81" name="Group 80"/>
            <p:cNvGrpSpPr/>
            <p:nvPr/>
          </p:nvGrpSpPr>
          <p:grpSpPr>
            <a:xfrm>
              <a:off x="6790028" y="4807866"/>
              <a:ext cx="1285019" cy="124245"/>
              <a:chOff x="6731917" y="4807866"/>
              <a:chExt cx="1285019" cy="124245"/>
            </a:xfrm>
          </p:grpSpPr>
          <p:sp>
            <p:nvSpPr>
              <p:cNvPr id="82" name="Content Placeholder 2"/>
              <p:cNvSpPr txBox="1">
                <a:spLocks/>
              </p:cNvSpPr>
              <p:nvPr/>
            </p:nvSpPr>
            <p:spPr>
              <a:xfrm>
                <a:off x="6731917" y="4807866"/>
                <a:ext cx="289063" cy="124245"/>
              </a:xfrm>
              <a:prstGeom prst="rect">
                <a:avLst/>
              </a:prstGeom>
              <a:solidFill>
                <a:schemeClr val="tx1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B0F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b="1" i="1" dirty="0">
                  <a:solidFill>
                    <a:srgbClr val="00B0F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B0F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B0F0"/>
                  </a:solidFill>
                </a:endParaRPr>
              </a:p>
            </p:txBody>
          </p:sp>
          <p:sp>
            <p:nvSpPr>
              <p:cNvPr id="83" name="TextBox 82"/>
              <p:cNvSpPr txBox="1"/>
              <p:nvPr/>
            </p:nvSpPr>
            <p:spPr>
              <a:xfrm>
                <a:off x="7069561" y="4808433"/>
                <a:ext cx="947375" cy="123111"/>
              </a:xfrm>
              <a:prstGeom prst="rect">
                <a:avLst/>
              </a:prstGeom>
              <a:noFill/>
              <a:effectLst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 smtClean="0">
                    <a:latin typeface="Georgia" pitchFamily="18" charset="0"/>
                  </a:rPr>
                  <a:t>User Defined Output</a:t>
                </a:r>
                <a:endParaRPr lang="en-US" sz="800" dirty="0">
                  <a:latin typeface="Georgia" pitchFamily="18" charset="0"/>
                </a:endParaRP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33181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 bwMode="ltGray">
          <a:xfrm>
            <a:off x="4741786" y="614362"/>
            <a:ext cx="4135514" cy="1957388"/>
          </a:xfrm>
          <a:prstGeom prst="rect">
            <a:avLst/>
          </a:prstGeom>
          <a:solidFill>
            <a:schemeClr val="tx2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72" name="Parallelogram 71"/>
          <p:cNvSpPr/>
          <p:nvPr/>
        </p:nvSpPr>
        <p:spPr bwMode="ltGray">
          <a:xfrm flipH="1">
            <a:off x="-5832" y="0"/>
            <a:ext cx="3712801" cy="5143500"/>
          </a:xfrm>
          <a:prstGeom prst="parallelogram">
            <a:avLst>
              <a:gd name="adj" fmla="val 77827"/>
            </a:avLst>
          </a:prstGeom>
          <a:solidFill>
            <a:srgbClr val="D5D1C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2" name="Rectangle 31"/>
          <p:cNvSpPr/>
          <p:nvPr/>
        </p:nvSpPr>
        <p:spPr bwMode="ltGray">
          <a:xfrm>
            <a:off x="251225" y="2866092"/>
            <a:ext cx="4255644" cy="1926763"/>
          </a:xfrm>
          <a:prstGeom prst="rect">
            <a:avLst/>
          </a:prstGeom>
          <a:solidFill>
            <a:srgbClr val="EB8C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69" name="Title 1"/>
          <p:cNvSpPr>
            <a:spLocks noGrp="1"/>
          </p:cNvSpPr>
          <p:nvPr>
            <p:ph type="title"/>
          </p:nvPr>
        </p:nvSpPr>
        <p:spPr>
          <a:xfrm>
            <a:off x="1178327" y="111849"/>
            <a:ext cx="7680410" cy="404406"/>
          </a:xfrm>
        </p:spPr>
        <p:txBody>
          <a:bodyPr/>
          <a:lstStyle/>
          <a:p>
            <a:r>
              <a:rPr lang="en-US" dirty="0"/>
              <a:t>Logical functions– COUNTIF/COUNTIFS function</a:t>
            </a:r>
            <a:endParaRPr lang="en-GB" b="0" i="0" dirty="0" smtClean="0"/>
          </a:p>
        </p:txBody>
      </p:sp>
      <p:sp>
        <p:nvSpPr>
          <p:cNvPr id="86" name="Rectangle 85"/>
          <p:cNvSpPr/>
          <p:nvPr/>
        </p:nvSpPr>
        <p:spPr bwMode="ltGray">
          <a:xfrm>
            <a:off x="251225" y="628104"/>
            <a:ext cx="4255644" cy="1943646"/>
          </a:xfrm>
          <a:prstGeom prst="rect">
            <a:avLst/>
          </a:prstGeom>
          <a:solidFill>
            <a:schemeClr val="accent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90" name="Rectangle 89"/>
          <p:cNvSpPr/>
          <p:nvPr/>
        </p:nvSpPr>
        <p:spPr bwMode="ltGray">
          <a:xfrm>
            <a:off x="4741786" y="2855610"/>
            <a:ext cx="4145039" cy="1925940"/>
          </a:xfrm>
          <a:prstGeom prst="rect">
            <a:avLst/>
          </a:prstGeom>
          <a:solidFill>
            <a:schemeClr val="accent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415925" y="963128"/>
            <a:ext cx="4022915" cy="92333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COUNTIF allows you to count the number of occurrences in a range based on a specific variable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COUNTIFS Statements are mathematical functions that allow you to count a number occurrences in a range based on single or multiple </a:t>
            </a: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>variables</a:t>
            </a:r>
            <a:endParaRPr lang="en-US" sz="1200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4956906" y="3231245"/>
            <a:ext cx="3840480" cy="15742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/>
                </a:solidFill>
                <a:latin typeface="Georgia" pitchFamily="18" charset="0"/>
              </a:rPr>
              <a:t>Non-numeric criteria are not case sensitive and need to be enclosed in double quotes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/>
                </a:solidFill>
                <a:latin typeface="Georgia" pitchFamily="18" charset="0"/>
              </a:rPr>
              <a:t>The wildcard characters “?” and “*” can be used in criteria. “?” matches any one character and “*” matches any sequence </a:t>
            </a:r>
            <a:r>
              <a:rPr lang="en-US" sz="1100" dirty="0" smtClean="0">
                <a:solidFill>
                  <a:schemeClr val="bg1"/>
                </a:solidFill>
                <a:latin typeface="Georgia" pitchFamily="18" charset="0"/>
              </a:rPr>
              <a:t>of characters</a:t>
            </a:r>
            <a:endParaRPr lang="en-US" sz="1100" dirty="0">
              <a:solidFill>
                <a:schemeClr val="bg1"/>
              </a:solidFill>
              <a:latin typeface="Georgia" pitchFamily="18" charset="0"/>
            </a:endParaRP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/>
                </a:solidFill>
                <a:latin typeface="Georgia" pitchFamily="18" charset="0"/>
              </a:rPr>
              <a:t>In a COUNTIFS function, each additional range must have the same number of rows and columns as range 1. If you supply ranges with a mismatch, you'll get a #VALUE error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415925" y="3302803"/>
            <a:ext cx="4023360" cy="126188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Count the number of cells in a range:</a:t>
            </a:r>
          </a:p>
          <a:p>
            <a:pPr marL="274320" indent="-137160">
              <a:spcAft>
                <a:spcPts val="300"/>
              </a:spcAft>
              <a:buFont typeface="Georgia" panose="02040502050405020303" pitchFamily="18" charset="0"/>
              <a:buChar char="-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That do not equal a string of text</a:t>
            </a:r>
          </a:p>
          <a:p>
            <a:pPr marL="274320" indent="-137160">
              <a:spcAft>
                <a:spcPts val="300"/>
              </a:spcAft>
              <a:buFont typeface="Georgia" panose="02040502050405020303" pitchFamily="18" charset="0"/>
              <a:buChar char="-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Less than, greater than or equal to the contents of a particular value or a cell</a:t>
            </a:r>
          </a:p>
          <a:p>
            <a:pPr marL="274320" indent="-137160">
              <a:spcAft>
                <a:spcPts val="300"/>
              </a:spcAft>
              <a:buFont typeface="Georgia" panose="02040502050405020303" pitchFamily="18" charset="0"/>
              <a:buChar char="-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That are not empty</a:t>
            </a:r>
          </a:p>
          <a:p>
            <a:pPr marL="274320" indent="-137160">
              <a:spcAft>
                <a:spcPts val="300"/>
              </a:spcAft>
              <a:buFont typeface="Georgia" panose="02040502050405020303" pitchFamily="18" charset="0"/>
              <a:buChar char="-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That are duplicates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401585" y="658652"/>
            <a:ext cx="940895" cy="2383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900"/>
              </a:spcAft>
            </a:pPr>
            <a:r>
              <a:rPr lang="en-GB" b="1" i="1" dirty="0" smtClean="0">
                <a:solidFill>
                  <a:schemeClr val="bg1"/>
                </a:solidFill>
                <a:latin typeface="Georgia" pitchFamily="18" charset="0"/>
              </a:rPr>
              <a:t>Overview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4937376" y="648119"/>
            <a:ext cx="940895" cy="2383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Syntax</a:t>
            </a:r>
            <a:endParaRPr lang="en-GB" b="1" i="1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907130" y="2937365"/>
            <a:ext cx="2550742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Tips </a:t>
            </a:r>
            <a:r>
              <a:rPr lang="en-GB" b="1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nd Tricks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415925" y="2988994"/>
            <a:ext cx="2651530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Uses </a:t>
            </a:r>
            <a:r>
              <a:rPr lang="en-GB" b="1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nd Applications</a:t>
            </a:r>
          </a:p>
        </p:txBody>
      </p:sp>
      <p:sp>
        <p:nvSpPr>
          <p:cNvPr id="23" name="Freeform 201"/>
          <p:cNvSpPr>
            <a:spLocks noEditPoints="1"/>
          </p:cNvSpPr>
          <p:nvPr/>
        </p:nvSpPr>
        <p:spPr bwMode="auto">
          <a:xfrm>
            <a:off x="4040650" y="2222127"/>
            <a:ext cx="398190" cy="283985"/>
          </a:xfrm>
          <a:custGeom>
            <a:avLst/>
            <a:gdLst>
              <a:gd name="T0" fmla="*/ 67 w 812"/>
              <a:gd name="T1" fmla="*/ 0 h 576"/>
              <a:gd name="T2" fmla="*/ 30 w 812"/>
              <a:gd name="T3" fmla="*/ 12 h 576"/>
              <a:gd name="T4" fmla="*/ 5 w 812"/>
              <a:gd name="T5" fmla="*/ 43 h 576"/>
              <a:gd name="T6" fmla="*/ 0 w 812"/>
              <a:gd name="T7" fmla="*/ 390 h 576"/>
              <a:gd name="T8" fmla="*/ 5 w 812"/>
              <a:gd name="T9" fmla="*/ 416 h 576"/>
              <a:gd name="T10" fmla="*/ 30 w 812"/>
              <a:gd name="T11" fmla="*/ 446 h 576"/>
              <a:gd name="T12" fmla="*/ 67 w 812"/>
              <a:gd name="T13" fmla="*/ 457 h 576"/>
              <a:gd name="T14" fmla="*/ 101 w 812"/>
              <a:gd name="T15" fmla="*/ 509 h 576"/>
              <a:gd name="T16" fmla="*/ 473 w 812"/>
              <a:gd name="T17" fmla="*/ 509 h 576"/>
              <a:gd name="T18" fmla="*/ 507 w 812"/>
              <a:gd name="T19" fmla="*/ 457 h 576"/>
              <a:gd name="T20" fmla="*/ 534 w 812"/>
              <a:gd name="T21" fmla="*/ 452 h 576"/>
              <a:gd name="T22" fmla="*/ 564 w 812"/>
              <a:gd name="T23" fmla="*/ 428 h 576"/>
              <a:gd name="T24" fmla="*/ 575 w 812"/>
              <a:gd name="T25" fmla="*/ 390 h 576"/>
              <a:gd name="T26" fmla="*/ 574 w 812"/>
              <a:gd name="T27" fmla="*/ 55 h 576"/>
              <a:gd name="T28" fmla="*/ 555 w 812"/>
              <a:gd name="T29" fmla="*/ 21 h 576"/>
              <a:gd name="T30" fmla="*/ 522 w 812"/>
              <a:gd name="T31" fmla="*/ 2 h 576"/>
              <a:gd name="T32" fmla="*/ 507 w 812"/>
              <a:gd name="T33" fmla="*/ 373 h 576"/>
              <a:gd name="T34" fmla="*/ 502 w 812"/>
              <a:gd name="T35" fmla="*/ 385 h 576"/>
              <a:gd name="T36" fmla="*/ 84 w 812"/>
              <a:gd name="T37" fmla="*/ 390 h 576"/>
              <a:gd name="T38" fmla="*/ 72 w 812"/>
              <a:gd name="T39" fmla="*/ 385 h 576"/>
              <a:gd name="T40" fmla="*/ 67 w 812"/>
              <a:gd name="T41" fmla="*/ 85 h 576"/>
              <a:gd name="T42" fmla="*/ 72 w 812"/>
              <a:gd name="T43" fmla="*/ 74 h 576"/>
              <a:gd name="T44" fmla="*/ 490 w 812"/>
              <a:gd name="T45" fmla="*/ 68 h 576"/>
              <a:gd name="T46" fmla="*/ 502 w 812"/>
              <a:gd name="T47" fmla="*/ 74 h 576"/>
              <a:gd name="T48" fmla="*/ 507 w 812"/>
              <a:gd name="T49" fmla="*/ 373 h 576"/>
              <a:gd name="T50" fmla="*/ 643 w 812"/>
              <a:gd name="T51" fmla="*/ 0 h 576"/>
              <a:gd name="T52" fmla="*/ 624 w 812"/>
              <a:gd name="T53" fmla="*/ 6 h 576"/>
              <a:gd name="T54" fmla="*/ 612 w 812"/>
              <a:gd name="T55" fmla="*/ 21 h 576"/>
              <a:gd name="T56" fmla="*/ 610 w 812"/>
              <a:gd name="T57" fmla="*/ 543 h 576"/>
              <a:gd name="T58" fmla="*/ 612 w 812"/>
              <a:gd name="T59" fmla="*/ 556 h 576"/>
              <a:gd name="T60" fmla="*/ 624 w 812"/>
              <a:gd name="T61" fmla="*/ 570 h 576"/>
              <a:gd name="T62" fmla="*/ 643 w 812"/>
              <a:gd name="T63" fmla="*/ 576 h 576"/>
              <a:gd name="T64" fmla="*/ 786 w 812"/>
              <a:gd name="T65" fmla="*/ 575 h 576"/>
              <a:gd name="T66" fmla="*/ 802 w 812"/>
              <a:gd name="T67" fmla="*/ 566 h 576"/>
              <a:gd name="T68" fmla="*/ 811 w 812"/>
              <a:gd name="T69" fmla="*/ 549 h 576"/>
              <a:gd name="T70" fmla="*/ 812 w 812"/>
              <a:gd name="T71" fmla="*/ 34 h 576"/>
              <a:gd name="T72" fmla="*/ 806 w 812"/>
              <a:gd name="T73" fmla="*/ 16 h 576"/>
              <a:gd name="T74" fmla="*/ 792 w 812"/>
              <a:gd name="T75" fmla="*/ 3 h 576"/>
              <a:gd name="T76" fmla="*/ 778 w 812"/>
              <a:gd name="T77" fmla="*/ 0 h 576"/>
              <a:gd name="T78" fmla="*/ 702 w 812"/>
              <a:gd name="T79" fmla="*/ 444 h 576"/>
              <a:gd name="T80" fmla="*/ 683 w 812"/>
              <a:gd name="T81" fmla="*/ 434 h 576"/>
              <a:gd name="T82" fmla="*/ 674 w 812"/>
              <a:gd name="T83" fmla="*/ 415 h 576"/>
              <a:gd name="T84" fmla="*/ 674 w 812"/>
              <a:gd name="T85" fmla="*/ 399 h 576"/>
              <a:gd name="T86" fmla="*/ 683 w 812"/>
              <a:gd name="T87" fmla="*/ 380 h 576"/>
              <a:gd name="T88" fmla="*/ 702 w 812"/>
              <a:gd name="T89" fmla="*/ 369 h 576"/>
              <a:gd name="T90" fmla="*/ 718 w 812"/>
              <a:gd name="T91" fmla="*/ 369 h 576"/>
              <a:gd name="T92" fmla="*/ 737 w 812"/>
              <a:gd name="T93" fmla="*/ 380 h 576"/>
              <a:gd name="T94" fmla="*/ 748 w 812"/>
              <a:gd name="T95" fmla="*/ 399 h 576"/>
              <a:gd name="T96" fmla="*/ 748 w 812"/>
              <a:gd name="T97" fmla="*/ 415 h 576"/>
              <a:gd name="T98" fmla="*/ 737 w 812"/>
              <a:gd name="T99" fmla="*/ 434 h 576"/>
              <a:gd name="T100" fmla="*/ 718 w 812"/>
              <a:gd name="T101" fmla="*/ 444 h 576"/>
              <a:gd name="T102" fmla="*/ 765 w 812"/>
              <a:gd name="T103" fmla="*/ 103 h 576"/>
              <a:gd name="T104" fmla="*/ 653 w 812"/>
              <a:gd name="T105" fmla="*/ 103 h 576"/>
              <a:gd name="T106" fmla="*/ 640 w 812"/>
              <a:gd name="T107" fmla="*/ 92 h 576"/>
              <a:gd name="T108" fmla="*/ 639 w 812"/>
              <a:gd name="T109" fmla="*/ 85 h 576"/>
              <a:gd name="T110" fmla="*/ 643 w 812"/>
              <a:gd name="T111" fmla="*/ 73 h 576"/>
              <a:gd name="T112" fmla="*/ 657 w 812"/>
              <a:gd name="T113" fmla="*/ 68 h 576"/>
              <a:gd name="T114" fmla="*/ 769 w 812"/>
              <a:gd name="T115" fmla="*/ 68 h 576"/>
              <a:gd name="T116" fmla="*/ 781 w 812"/>
              <a:gd name="T117" fmla="*/ 79 h 576"/>
              <a:gd name="T118" fmla="*/ 782 w 812"/>
              <a:gd name="T119" fmla="*/ 85 h 576"/>
              <a:gd name="T120" fmla="*/ 777 w 812"/>
              <a:gd name="T121" fmla="*/ 98 h 576"/>
              <a:gd name="T122" fmla="*/ 765 w 812"/>
              <a:gd name="T123" fmla="*/ 103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12" h="576">
                <a:moveTo>
                  <a:pt x="507" y="0"/>
                </a:moveTo>
                <a:lnTo>
                  <a:pt x="67" y="0"/>
                </a:lnTo>
                <a:lnTo>
                  <a:pt x="67" y="0"/>
                </a:lnTo>
                <a:lnTo>
                  <a:pt x="54" y="2"/>
                </a:lnTo>
                <a:lnTo>
                  <a:pt x="41" y="6"/>
                </a:lnTo>
                <a:lnTo>
                  <a:pt x="30" y="12"/>
                </a:lnTo>
                <a:lnTo>
                  <a:pt x="19" y="21"/>
                </a:lnTo>
                <a:lnTo>
                  <a:pt x="12" y="31"/>
                </a:lnTo>
                <a:lnTo>
                  <a:pt x="5" y="43"/>
                </a:lnTo>
                <a:lnTo>
                  <a:pt x="1" y="55"/>
                </a:lnTo>
                <a:lnTo>
                  <a:pt x="0" y="68"/>
                </a:lnTo>
                <a:lnTo>
                  <a:pt x="0" y="390"/>
                </a:lnTo>
                <a:lnTo>
                  <a:pt x="0" y="390"/>
                </a:lnTo>
                <a:lnTo>
                  <a:pt x="1" y="404"/>
                </a:lnTo>
                <a:lnTo>
                  <a:pt x="5" y="416"/>
                </a:lnTo>
                <a:lnTo>
                  <a:pt x="12" y="428"/>
                </a:lnTo>
                <a:lnTo>
                  <a:pt x="19" y="438"/>
                </a:lnTo>
                <a:lnTo>
                  <a:pt x="30" y="446"/>
                </a:lnTo>
                <a:lnTo>
                  <a:pt x="41" y="452"/>
                </a:lnTo>
                <a:lnTo>
                  <a:pt x="54" y="456"/>
                </a:lnTo>
                <a:lnTo>
                  <a:pt x="67" y="457"/>
                </a:lnTo>
                <a:lnTo>
                  <a:pt x="237" y="457"/>
                </a:lnTo>
                <a:lnTo>
                  <a:pt x="237" y="509"/>
                </a:lnTo>
                <a:lnTo>
                  <a:pt x="101" y="509"/>
                </a:lnTo>
                <a:lnTo>
                  <a:pt x="101" y="576"/>
                </a:lnTo>
                <a:lnTo>
                  <a:pt x="473" y="576"/>
                </a:lnTo>
                <a:lnTo>
                  <a:pt x="473" y="509"/>
                </a:lnTo>
                <a:lnTo>
                  <a:pt x="339" y="509"/>
                </a:lnTo>
                <a:lnTo>
                  <a:pt x="339" y="457"/>
                </a:lnTo>
                <a:lnTo>
                  <a:pt x="507" y="457"/>
                </a:lnTo>
                <a:lnTo>
                  <a:pt x="507" y="457"/>
                </a:lnTo>
                <a:lnTo>
                  <a:pt x="522" y="456"/>
                </a:lnTo>
                <a:lnTo>
                  <a:pt x="534" y="452"/>
                </a:lnTo>
                <a:lnTo>
                  <a:pt x="546" y="446"/>
                </a:lnTo>
                <a:lnTo>
                  <a:pt x="555" y="438"/>
                </a:lnTo>
                <a:lnTo>
                  <a:pt x="564" y="428"/>
                </a:lnTo>
                <a:lnTo>
                  <a:pt x="570" y="416"/>
                </a:lnTo>
                <a:lnTo>
                  <a:pt x="574" y="404"/>
                </a:lnTo>
                <a:lnTo>
                  <a:pt x="575" y="390"/>
                </a:lnTo>
                <a:lnTo>
                  <a:pt x="575" y="68"/>
                </a:lnTo>
                <a:lnTo>
                  <a:pt x="575" y="68"/>
                </a:lnTo>
                <a:lnTo>
                  <a:pt x="574" y="55"/>
                </a:lnTo>
                <a:lnTo>
                  <a:pt x="570" y="43"/>
                </a:lnTo>
                <a:lnTo>
                  <a:pt x="564" y="31"/>
                </a:lnTo>
                <a:lnTo>
                  <a:pt x="555" y="21"/>
                </a:lnTo>
                <a:lnTo>
                  <a:pt x="546" y="12"/>
                </a:lnTo>
                <a:lnTo>
                  <a:pt x="534" y="6"/>
                </a:lnTo>
                <a:lnTo>
                  <a:pt x="522" y="2"/>
                </a:lnTo>
                <a:lnTo>
                  <a:pt x="507" y="0"/>
                </a:lnTo>
                <a:lnTo>
                  <a:pt x="507" y="0"/>
                </a:lnTo>
                <a:close/>
                <a:moveTo>
                  <a:pt x="507" y="373"/>
                </a:moveTo>
                <a:lnTo>
                  <a:pt x="507" y="373"/>
                </a:lnTo>
                <a:lnTo>
                  <a:pt x="506" y="380"/>
                </a:lnTo>
                <a:lnTo>
                  <a:pt x="502" y="385"/>
                </a:lnTo>
                <a:lnTo>
                  <a:pt x="498" y="388"/>
                </a:lnTo>
                <a:lnTo>
                  <a:pt x="490" y="390"/>
                </a:lnTo>
                <a:lnTo>
                  <a:pt x="84" y="390"/>
                </a:lnTo>
                <a:lnTo>
                  <a:pt x="84" y="390"/>
                </a:lnTo>
                <a:lnTo>
                  <a:pt x="78" y="388"/>
                </a:lnTo>
                <a:lnTo>
                  <a:pt x="72" y="385"/>
                </a:lnTo>
                <a:lnTo>
                  <a:pt x="69" y="380"/>
                </a:lnTo>
                <a:lnTo>
                  <a:pt x="67" y="373"/>
                </a:lnTo>
                <a:lnTo>
                  <a:pt x="67" y="85"/>
                </a:lnTo>
                <a:lnTo>
                  <a:pt x="67" y="85"/>
                </a:lnTo>
                <a:lnTo>
                  <a:pt x="69" y="79"/>
                </a:lnTo>
                <a:lnTo>
                  <a:pt x="72" y="74"/>
                </a:lnTo>
                <a:lnTo>
                  <a:pt x="78" y="70"/>
                </a:lnTo>
                <a:lnTo>
                  <a:pt x="84" y="68"/>
                </a:lnTo>
                <a:lnTo>
                  <a:pt x="490" y="68"/>
                </a:lnTo>
                <a:lnTo>
                  <a:pt x="490" y="68"/>
                </a:lnTo>
                <a:lnTo>
                  <a:pt x="498" y="70"/>
                </a:lnTo>
                <a:lnTo>
                  <a:pt x="502" y="74"/>
                </a:lnTo>
                <a:lnTo>
                  <a:pt x="506" y="79"/>
                </a:lnTo>
                <a:lnTo>
                  <a:pt x="507" y="85"/>
                </a:lnTo>
                <a:lnTo>
                  <a:pt x="507" y="373"/>
                </a:lnTo>
                <a:close/>
                <a:moveTo>
                  <a:pt x="778" y="0"/>
                </a:moveTo>
                <a:lnTo>
                  <a:pt x="643" y="0"/>
                </a:lnTo>
                <a:lnTo>
                  <a:pt x="643" y="0"/>
                </a:lnTo>
                <a:lnTo>
                  <a:pt x="636" y="2"/>
                </a:lnTo>
                <a:lnTo>
                  <a:pt x="630" y="3"/>
                </a:lnTo>
                <a:lnTo>
                  <a:pt x="624" y="6"/>
                </a:lnTo>
                <a:lnTo>
                  <a:pt x="619" y="11"/>
                </a:lnTo>
                <a:lnTo>
                  <a:pt x="614" y="16"/>
                </a:lnTo>
                <a:lnTo>
                  <a:pt x="612" y="21"/>
                </a:lnTo>
                <a:lnTo>
                  <a:pt x="610" y="28"/>
                </a:lnTo>
                <a:lnTo>
                  <a:pt x="610" y="34"/>
                </a:lnTo>
                <a:lnTo>
                  <a:pt x="610" y="543"/>
                </a:lnTo>
                <a:lnTo>
                  <a:pt x="610" y="543"/>
                </a:lnTo>
                <a:lnTo>
                  <a:pt x="610" y="549"/>
                </a:lnTo>
                <a:lnTo>
                  <a:pt x="612" y="556"/>
                </a:lnTo>
                <a:lnTo>
                  <a:pt x="614" y="561"/>
                </a:lnTo>
                <a:lnTo>
                  <a:pt x="619" y="566"/>
                </a:lnTo>
                <a:lnTo>
                  <a:pt x="624" y="570"/>
                </a:lnTo>
                <a:lnTo>
                  <a:pt x="630" y="574"/>
                </a:lnTo>
                <a:lnTo>
                  <a:pt x="636" y="575"/>
                </a:lnTo>
                <a:lnTo>
                  <a:pt x="643" y="576"/>
                </a:lnTo>
                <a:lnTo>
                  <a:pt x="778" y="576"/>
                </a:lnTo>
                <a:lnTo>
                  <a:pt x="778" y="576"/>
                </a:lnTo>
                <a:lnTo>
                  <a:pt x="786" y="575"/>
                </a:lnTo>
                <a:lnTo>
                  <a:pt x="792" y="574"/>
                </a:lnTo>
                <a:lnTo>
                  <a:pt x="798" y="570"/>
                </a:lnTo>
                <a:lnTo>
                  <a:pt x="802" y="566"/>
                </a:lnTo>
                <a:lnTo>
                  <a:pt x="806" y="561"/>
                </a:lnTo>
                <a:lnTo>
                  <a:pt x="810" y="556"/>
                </a:lnTo>
                <a:lnTo>
                  <a:pt x="811" y="549"/>
                </a:lnTo>
                <a:lnTo>
                  <a:pt x="812" y="543"/>
                </a:lnTo>
                <a:lnTo>
                  <a:pt x="812" y="34"/>
                </a:lnTo>
                <a:lnTo>
                  <a:pt x="812" y="34"/>
                </a:lnTo>
                <a:lnTo>
                  <a:pt x="811" y="28"/>
                </a:lnTo>
                <a:lnTo>
                  <a:pt x="810" y="21"/>
                </a:lnTo>
                <a:lnTo>
                  <a:pt x="806" y="16"/>
                </a:lnTo>
                <a:lnTo>
                  <a:pt x="802" y="11"/>
                </a:lnTo>
                <a:lnTo>
                  <a:pt x="798" y="6"/>
                </a:lnTo>
                <a:lnTo>
                  <a:pt x="792" y="3"/>
                </a:lnTo>
                <a:lnTo>
                  <a:pt x="786" y="2"/>
                </a:lnTo>
                <a:lnTo>
                  <a:pt x="778" y="0"/>
                </a:lnTo>
                <a:lnTo>
                  <a:pt x="778" y="0"/>
                </a:lnTo>
                <a:close/>
                <a:moveTo>
                  <a:pt x="711" y="445"/>
                </a:moveTo>
                <a:lnTo>
                  <a:pt x="711" y="445"/>
                </a:lnTo>
                <a:lnTo>
                  <a:pt x="702" y="444"/>
                </a:lnTo>
                <a:lnTo>
                  <a:pt x="695" y="441"/>
                </a:lnTo>
                <a:lnTo>
                  <a:pt x="689" y="438"/>
                </a:lnTo>
                <a:lnTo>
                  <a:pt x="683" y="434"/>
                </a:lnTo>
                <a:lnTo>
                  <a:pt x="680" y="428"/>
                </a:lnTo>
                <a:lnTo>
                  <a:pt x="676" y="422"/>
                </a:lnTo>
                <a:lnTo>
                  <a:pt x="674" y="415"/>
                </a:lnTo>
                <a:lnTo>
                  <a:pt x="672" y="406"/>
                </a:lnTo>
                <a:lnTo>
                  <a:pt x="672" y="406"/>
                </a:lnTo>
                <a:lnTo>
                  <a:pt x="674" y="399"/>
                </a:lnTo>
                <a:lnTo>
                  <a:pt x="676" y="392"/>
                </a:lnTo>
                <a:lnTo>
                  <a:pt x="680" y="386"/>
                </a:lnTo>
                <a:lnTo>
                  <a:pt x="683" y="380"/>
                </a:lnTo>
                <a:lnTo>
                  <a:pt x="689" y="375"/>
                </a:lnTo>
                <a:lnTo>
                  <a:pt x="695" y="372"/>
                </a:lnTo>
                <a:lnTo>
                  <a:pt x="702" y="369"/>
                </a:lnTo>
                <a:lnTo>
                  <a:pt x="711" y="369"/>
                </a:lnTo>
                <a:lnTo>
                  <a:pt x="711" y="369"/>
                </a:lnTo>
                <a:lnTo>
                  <a:pt x="718" y="369"/>
                </a:lnTo>
                <a:lnTo>
                  <a:pt x="725" y="372"/>
                </a:lnTo>
                <a:lnTo>
                  <a:pt x="731" y="375"/>
                </a:lnTo>
                <a:lnTo>
                  <a:pt x="737" y="380"/>
                </a:lnTo>
                <a:lnTo>
                  <a:pt x="742" y="386"/>
                </a:lnTo>
                <a:lnTo>
                  <a:pt x="746" y="392"/>
                </a:lnTo>
                <a:lnTo>
                  <a:pt x="748" y="399"/>
                </a:lnTo>
                <a:lnTo>
                  <a:pt x="748" y="406"/>
                </a:lnTo>
                <a:lnTo>
                  <a:pt x="748" y="406"/>
                </a:lnTo>
                <a:lnTo>
                  <a:pt x="748" y="415"/>
                </a:lnTo>
                <a:lnTo>
                  <a:pt x="746" y="422"/>
                </a:lnTo>
                <a:lnTo>
                  <a:pt x="742" y="428"/>
                </a:lnTo>
                <a:lnTo>
                  <a:pt x="737" y="434"/>
                </a:lnTo>
                <a:lnTo>
                  <a:pt x="731" y="438"/>
                </a:lnTo>
                <a:lnTo>
                  <a:pt x="725" y="441"/>
                </a:lnTo>
                <a:lnTo>
                  <a:pt x="718" y="444"/>
                </a:lnTo>
                <a:lnTo>
                  <a:pt x="711" y="445"/>
                </a:lnTo>
                <a:lnTo>
                  <a:pt x="711" y="445"/>
                </a:lnTo>
                <a:close/>
                <a:moveTo>
                  <a:pt x="765" y="103"/>
                </a:moveTo>
                <a:lnTo>
                  <a:pt x="657" y="103"/>
                </a:lnTo>
                <a:lnTo>
                  <a:pt x="657" y="103"/>
                </a:lnTo>
                <a:lnTo>
                  <a:pt x="653" y="103"/>
                </a:lnTo>
                <a:lnTo>
                  <a:pt x="649" y="102"/>
                </a:lnTo>
                <a:lnTo>
                  <a:pt x="643" y="98"/>
                </a:lnTo>
                <a:lnTo>
                  <a:pt x="640" y="92"/>
                </a:lnTo>
                <a:lnTo>
                  <a:pt x="639" y="90"/>
                </a:lnTo>
                <a:lnTo>
                  <a:pt x="639" y="85"/>
                </a:lnTo>
                <a:lnTo>
                  <a:pt x="639" y="85"/>
                </a:lnTo>
                <a:lnTo>
                  <a:pt x="639" y="81"/>
                </a:lnTo>
                <a:lnTo>
                  <a:pt x="640" y="79"/>
                </a:lnTo>
                <a:lnTo>
                  <a:pt x="643" y="73"/>
                </a:lnTo>
                <a:lnTo>
                  <a:pt x="649" y="69"/>
                </a:lnTo>
                <a:lnTo>
                  <a:pt x="653" y="68"/>
                </a:lnTo>
                <a:lnTo>
                  <a:pt x="657" y="68"/>
                </a:lnTo>
                <a:lnTo>
                  <a:pt x="765" y="68"/>
                </a:lnTo>
                <a:lnTo>
                  <a:pt x="765" y="68"/>
                </a:lnTo>
                <a:lnTo>
                  <a:pt x="769" y="68"/>
                </a:lnTo>
                <a:lnTo>
                  <a:pt x="771" y="69"/>
                </a:lnTo>
                <a:lnTo>
                  <a:pt x="777" y="73"/>
                </a:lnTo>
                <a:lnTo>
                  <a:pt x="781" y="79"/>
                </a:lnTo>
                <a:lnTo>
                  <a:pt x="782" y="81"/>
                </a:lnTo>
                <a:lnTo>
                  <a:pt x="782" y="85"/>
                </a:lnTo>
                <a:lnTo>
                  <a:pt x="782" y="85"/>
                </a:lnTo>
                <a:lnTo>
                  <a:pt x="782" y="90"/>
                </a:lnTo>
                <a:lnTo>
                  <a:pt x="781" y="92"/>
                </a:lnTo>
                <a:lnTo>
                  <a:pt x="777" y="98"/>
                </a:lnTo>
                <a:lnTo>
                  <a:pt x="771" y="102"/>
                </a:lnTo>
                <a:lnTo>
                  <a:pt x="769" y="103"/>
                </a:lnTo>
                <a:lnTo>
                  <a:pt x="765" y="103"/>
                </a:lnTo>
                <a:lnTo>
                  <a:pt x="765" y="10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24" name="Freeform 206"/>
          <p:cNvSpPr>
            <a:spLocks noEditPoints="1"/>
          </p:cNvSpPr>
          <p:nvPr/>
        </p:nvSpPr>
        <p:spPr bwMode="auto">
          <a:xfrm>
            <a:off x="8471626" y="2142256"/>
            <a:ext cx="356144" cy="363856"/>
          </a:xfrm>
          <a:custGeom>
            <a:avLst/>
            <a:gdLst>
              <a:gd name="T0" fmla="*/ 272 w 736"/>
              <a:gd name="T1" fmla="*/ 192 h 738"/>
              <a:gd name="T2" fmla="*/ 183 w 736"/>
              <a:gd name="T3" fmla="*/ 290 h 738"/>
              <a:gd name="T4" fmla="*/ 171 w 736"/>
              <a:gd name="T5" fmla="*/ 410 h 738"/>
              <a:gd name="T6" fmla="*/ 241 w 736"/>
              <a:gd name="T7" fmla="*/ 524 h 738"/>
              <a:gd name="T8" fmla="*/ 368 w 736"/>
              <a:gd name="T9" fmla="*/ 570 h 738"/>
              <a:gd name="T10" fmla="*/ 480 w 736"/>
              <a:gd name="T11" fmla="*/ 535 h 738"/>
              <a:gd name="T12" fmla="*/ 559 w 736"/>
              <a:gd name="T13" fmla="*/ 429 h 738"/>
              <a:gd name="T14" fmla="*/ 559 w 736"/>
              <a:gd name="T15" fmla="*/ 309 h 738"/>
              <a:gd name="T16" fmla="*/ 480 w 736"/>
              <a:gd name="T17" fmla="*/ 203 h 738"/>
              <a:gd name="T18" fmla="*/ 368 w 736"/>
              <a:gd name="T19" fmla="*/ 168 h 738"/>
              <a:gd name="T20" fmla="*/ 319 w 736"/>
              <a:gd name="T21" fmla="*/ 460 h 738"/>
              <a:gd name="T22" fmla="*/ 272 w 736"/>
              <a:gd name="T23" fmla="*/ 410 h 738"/>
              <a:gd name="T24" fmla="*/ 266 w 736"/>
              <a:gd name="T25" fmla="*/ 347 h 738"/>
              <a:gd name="T26" fmla="*/ 302 w 736"/>
              <a:gd name="T27" fmla="*/ 288 h 738"/>
              <a:gd name="T28" fmla="*/ 368 w 736"/>
              <a:gd name="T29" fmla="*/ 264 h 738"/>
              <a:gd name="T30" fmla="*/ 427 w 736"/>
              <a:gd name="T31" fmla="*/ 282 h 738"/>
              <a:gd name="T32" fmla="*/ 468 w 736"/>
              <a:gd name="T33" fmla="*/ 337 h 738"/>
              <a:gd name="T34" fmla="*/ 468 w 736"/>
              <a:gd name="T35" fmla="*/ 400 h 738"/>
              <a:gd name="T36" fmla="*/ 427 w 736"/>
              <a:gd name="T37" fmla="*/ 456 h 738"/>
              <a:gd name="T38" fmla="*/ 368 w 736"/>
              <a:gd name="T39" fmla="*/ 474 h 738"/>
              <a:gd name="T40" fmla="*/ 19 w 736"/>
              <a:gd name="T41" fmla="*/ 19 h 738"/>
              <a:gd name="T42" fmla="*/ 1 w 736"/>
              <a:gd name="T43" fmla="*/ 685 h 738"/>
              <a:gd name="T44" fmla="*/ 67 w 736"/>
              <a:gd name="T45" fmla="*/ 738 h 738"/>
              <a:gd name="T46" fmla="*/ 724 w 736"/>
              <a:gd name="T47" fmla="*/ 707 h 738"/>
              <a:gd name="T48" fmla="*/ 731 w 736"/>
              <a:gd name="T49" fmla="*/ 41 h 738"/>
              <a:gd name="T50" fmla="*/ 668 w 736"/>
              <a:gd name="T51" fmla="*/ 0 h 738"/>
              <a:gd name="T52" fmla="*/ 131 w 736"/>
              <a:gd name="T53" fmla="*/ 80 h 738"/>
              <a:gd name="T54" fmla="*/ 131 w 736"/>
              <a:gd name="T55" fmla="*/ 122 h 738"/>
              <a:gd name="T56" fmla="*/ 93 w 736"/>
              <a:gd name="T57" fmla="*/ 137 h 738"/>
              <a:gd name="T58" fmla="*/ 63 w 736"/>
              <a:gd name="T59" fmla="*/ 100 h 738"/>
              <a:gd name="T60" fmla="*/ 85 w 736"/>
              <a:gd name="T61" fmla="*/ 66 h 738"/>
              <a:gd name="T62" fmla="*/ 85 w 736"/>
              <a:gd name="T63" fmla="*/ 671 h 738"/>
              <a:gd name="T64" fmla="*/ 63 w 736"/>
              <a:gd name="T65" fmla="*/ 638 h 738"/>
              <a:gd name="T66" fmla="*/ 93 w 736"/>
              <a:gd name="T67" fmla="*/ 600 h 738"/>
              <a:gd name="T68" fmla="*/ 131 w 736"/>
              <a:gd name="T69" fmla="*/ 616 h 738"/>
              <a:gd name="T70" fmla="*/ 131 w 736"/>
              <a:gd name="T71" fmla="*/ 658 h 738"/>
              <a:gd name="T72" fmla="*/ 368 w 736"/>
              <a:gd name="T73" fmla="*/ 641 h 738"/>
              <a:gd name="T74" fmla="*/ 216 w 736"/>
              <a:gd name="T75" fmla="*/ 594 h 738"/>
              <a:gd name="T76" fmla="*/ 108 w 736"/>
              <a:gd name="T77" fmla="*/ 450 h 738"/>
              <a:gd name="T78" fmla="*/ 108 w 736"/>
              <a:gd name="T79" fmla="*/ 288 h 738"/>
              <a:gd name="T80" fmla="*/ 216 w 736"/>
              <a:gd name="T81" fmla="*/ 143 h 738"/>
              <a:gd name="T82" fmla="*/ 368 w 736"/>
              <a:gd name="T83" fmla="*/ 96 h 738"/>
              <a:gd name="T84" fmla="*/ 541 w 736"/>
              <a:gd name="T85" fmla="*/ 159 h 738"/>
              <a:gd name="T86" fmla="*/ 634 w 736"/>
              <a:gd name="T87" fmla="*/ 313 h 738"/>
              <a:gd name="T88" fmla="*/ 618 w 736"/>
              <a:gd name="T89" fmla="*/ 475 h 738"/>
              <a:gd name="T90" fmla="*/ 498 w 736"/>
              <a:gd name="T91" fmla="*/ 609 h 738"/>
              <a:gd name="T92" fmla="*/ 636 w 736"/>
              <a:gd name="T93" fmla="*/ 675 h 738"/>
              <a:gd name="T94" fmla="*/ 601 w 736"/>
              <a:gd name="T95" fmla="*/ 652 h 738"/>
              <a:gd name="T96" fmla="*/ 608 w 736"/>
              <a:gd name="T97" fmla="*/ 610 h 738"/>
              <a:gd name="T98" fmla="*/ 650 w 736"/>
              <a:gd name="T99" fmla="*/ 603 h 738"/>
              <a:gd name="T100" fmla="*/ 673 w 736"/>
              <a:gd name="T101" fmla="*/ 638 h 738"/>
              <a:gd name="T102" fmla="*/ 643 w 736"/>
              <a:gd name="T103" fmla="*/ 674 h 738"/>
              <a:gd name="T104" fmla="*/ 614 w 736"/>
              <a:gd name="T105" fmla="*/ 131 h 738"/>
              <a:gd name="T106" fmla="*/ 599 w 736"/>
              <a:gd name="T107" fmla="*/ 93 h 738"/>
              <a:gd name="T108" fmla="*/ 636 w 736"/>
              <a:gd name="T109" fmla="*/ 63 h 738"/>
              <a:gd name="T110" fmla="*/ 670 w 736"/>
              <a:gd name="T111" fmla="*/ 86 h 738"/>
              <a:gd name="T112" fmla="*/ 662 w 736"/>
              <a:gd name="T113" fmla="*/ 128 h 7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36" h="738">
                <a:moveTo>
                  <a:pt x="368" y="168"/>
                </a:moveTo>
                <a:lnTo>
                  <a:pt x="368" y="168"/>
                </a:lnTo>
                <a:lnTo>
                  <a:pt x="347" y="169"/>
                </a:lnTo>
                <a:lnTo>
                  <a:pt x="327" y="171"/>
                </a:lnTo>
                <a:lnTo>
                  <a:pt x="308" y="177"/>
                </a:lnTo>
                <a:lnTo>
                  <a:pt x="290" y="183"/>
                </a:lnTo>
                <a:lnTo>
                  <a:pt x="272" y="192"/>
                </a:lnTo>
                <a:lnTo>
                  <a:pt x="256" y="203"/>
                </a:lnTo>
                <a:lnTo>
                  <a:pt x="241" y="213"/>
                </a:lnTo>
                <a:lnTo>
                  <a:pt x="226" y="227"/>
                </a:lnTo>
                <a:lnTo>
                  <a:pt x="213" y="241"/>
                </a:lnTo>
                <a:lnTo>
                  <a:pt x="202" y="257"/>
                </a:lnTo>
                <a:lnTo>
                  <a:pt x="191" y="272"/>
                </a:lnTo>
                <a:lnTo>
                  <a:pt x="183" y="290"/>
                </a:lnTo>
                <a:lnTo>
                  <a:pt x="177" y="309"/>
                </a:lnTo>
                <a:lnTo>
                  <a:pt x="171" y="328"/>
                </a:lnTo>
                <a:lnTo>
                  <a:pt x="168" y="348"/>
                </a:lnTo>
                <a:lnTo>
                  <a:pt x="167" y="369"/>
                </a:lnTo>
                <a:lnTo>
                  <a:pt x="167" y="369"/>
                </a:lnTo>
                <a:lnTo>
                  <a:pt x="168" y="389"/>
                </a:lnTo>
                <a:lnTo>
                  <a:pt x="171" y="410"/>
                </a:lnTo>
                <a:lnTo>
                  <a:pt x="177" y="429"/>
                </a:lnTo>
                <a:lnTo>
                  <a:pt x="183" y="447"/>
                </a:lnTo>
                <a:lnTo>
                  <a:pt x="191" y="465"/>
                </a:lnTo>
                <a:lnTo>
                  <a:pt x="202" y="481"/>
                </a:lnTo>
                <a:lnTo>
                  <a:pt x="213" y="497"/>
                </a:lnTo>
                <a:lnTo>
                  <a:pt x="226" y="511"/>
                </a:lnTo>
                <a:lnTo>
                  <a:pt x="241" y="524"/>
                </a:lnTo>
                <a:lnTo>
                  <a:pt x="256" y="535"/>
                </a:lnTo>
                <a:lnTo>
                  <a:pt x="272" y="546"/>
                </a:lnTo>
                <a:lnTo>
                  <a:pt x="290" y="554"/>
                </a:lnTo>
                <a:lnTo>
                  <a:pt x="308" y="560"/>
                </a:lnTo>
                <a:lnTo>
                  <a:pt x="327" y="566"/>
                </a:lnTo>
                <a:lnTo>
                  <a:pt x="347" y="569"/>
                </a:lnTo>
                <a:lnTo>
                  <a:pt x="368" y="570"/>
                </a:lnTo>
                <a:lnTo>
                  <a:pt x="368" y="570"/>
                </a:lnTo>
                <a:lnTo>
                  <a:pt x="388" y="569"/>
                </a:lnTo>
                <a:lnTo>
                  <a:pt x="409" y="566"/>
                </a:lnTo>
                <a:lnTo>
                  <a:pt x="428" y="560"/>
                </a:lnTo>
                <a:lnTo>
                  <a:pt x="446" y="554"/>
                </a:lnTo>
                <a:lnTo>
                  <a:pt x="464" y="546"/>
                </a:lnTo>
                <a:lnTo>
                  <a:pt x="480" y="535"/>
                </a:lnTo>
                <a:lnTo>
                  <a:pt x="495" y="524"/>
                </a:lnTo>
                <a:lnTo>
                  <a:pt x="510" y="511"/>
                </a:lnTo>
                <a:lnTo>
                  <a:pt x="523" y="497"/>
                </a:lnTo>
                <a:lnTo>
                  <a:pt x="534" y="481"/>
                </a:lnTo>
                <a:lnTo>
                  <a:pt x="545" y="465"/>
                </a:lnTo>
                <a:lnTo>
                  <a:pt x="553" y="447"/>
                </a:lnTo>
                <a:lnTo>
                  <a:pt x="559" y="429"/>
                </a:lnTo>
                <a:lnTo>
                  <a:pt x="565" y="410"/>
                </a:lnTo>
                <a:lnTo>
                  <a:pt x="567" y="389"/>
                </a:lnTo>
                <a:lnTo>
                  <a:pt x="569" y="369"/>
                </a:lnTo>
                <a:lnTo>
                  <a:pt x="569" y="369"/>
                </a:lnTo>
                <a:lnTo>
                  <a:pt x="567" y="348"/>
                </a:lnTo>
                <a:lnTo>
                  <a:pt x="565" y="328"/>
                </a:lnTo>
                <a:lnTo>
                  <a:pt x="559" y="309"/>
                </a:lnTo>
                <a:lnTo>
                  <a:pt x="553" y="290"/>
                </a:lnTo>
                <a:lnTo>
                  <a:pt x="545" y="272"/>
                </a:lnTo>
                <a:lnTo>
                  <a:pt x="534" y="257"/>
                </a:lnTo>
                <a:lnTo>
                  <a:pt x="523" y="241"/>
                </a:lnTo>
                <a:lnTo>
                  <a:pt x="510" y="227"/>
                </a:lnTo>
                <a:lnTo>
                  <a:pt x="495" y="213"/>
                </a:lnTo>
                <a:lnTo>
                  <a:pt x="480" y="203"/>
                </a:lnTo>
                <a:lnTo>
                  <a:pt x="464" y="192"/>
                </a:lnTo>
                <a:lnTo>
                  <a:pt x="446" y="183"/>
                </a:lnTo>
                <a:lnTo>
                  <a:pt x="428" y="177"/>
                </a:lnTo>
                <a:lnTo>
                  <a:pt x="409" y="171"/>
                </a:lnTo>
                <a:lnTo>
                  <a:pt x="388" y="169"/>
                </a:lnTo>
                <a:lnTo>
                  <a:pt x="368" y="168"/>
                </a:lnTo>
                <a:lnTo>
                  <a:pt x="368" y="168"/>
                </a:lnTo>
                <a:close/>
                <a:moveTo>
                  <a:pt x="368" y="474"/>
                </a:moveTo>
                <a:lnTo>
                  <a:pt x="368" y="474"/>
                </a:lnTo>
                <a:lnTo>
                  <a:pt x="357" y="472"/>
                </a:lnTo>
                <a:lnTo>
                  <a:pt x="346" y="471"/>
                </a:lnTo>
                <a:lnTo>
                  <a:pt x="337" y="469"/>
                </a:lnTo>
                <a:lnTo>
                  <a:pt x="327" y="465"/>
                </a:lnTo>
                <a:lnTo>
                  <a:pt x="319" y="460"/>
                </a:lnTo>
                <a:lnTo>
                  <a:pt x="309" y="456"/>
                </a:lnTo>
                <a:lnTo>
                  <a:pt x="302" y="450"/>
                </a:lnTo>
                <a:lnTo>
                  <a:pt x="295" y="442"/>
                </a:lnTo>
                <a:lnTo>
                  <a:pt x="287" y="435"/>
                </a:lnTo>
                <a:lnTo>
                  <a:pt x="281" y="428"/>
                </a:lnTo>
                <a:lnTo>
                  <a:pt x="277" y="418"/>
                </a:lnTo>
                <a:lnTo>
                  <a:pt x="272" y="410"/>
                </a:lnTo>
                <a:lnTo>
                  <a:pt x="268" y="400"/>
                </a:lnTo>
                <a:lnTo>
                  <a:pt x="266" y="390"/>
                </a:lnTo>
                <a:lnTo>
                  <a:pt x="265" y="380"/>
                </a:lnTo>
                <a:lnTo>
                  <a:pt x="263" y="369"/>
                </a:lnTo>
                <a:lnTo>
                  <a:pt x="263" y="369"/>
                </a:lnTo>
                <a:lnTo>
                  <a:pt x="265" y="358"/>
                </a:lnTo>
                <a:lnTo>
                  <a:pt x="266" y="347"/>
                </a:lnTo>
                <a:lnTo>
                  <a:pt x="268" y="337"/>
                </a:lnTo>
                <a:lnTo>
                  <a:pt x="272" y="328"/>
                </a:lnTo>
                <a:lnTo>
                  <a:pt x="277" y="319"/>
                </a:lnTo>
                <a:lnTo>
                  <a:pt x="281" y="310"/>
                </a:lnTo>
                <a:lnTo>
                  <a:pt x="287" y="303"/>
                </a:lnTo>
                <a:lnTo>
                  <a:pt x="295" y="295"/>
                </a:lnTo>
                <a:lnTo>
                  <a:pt x="302" y="288"/>
                </a:lnTo>
                <a:lnTo>
                  <a:pt x="309" y="282"/>
                </a:lnTo>
                <a:lnTo>
                  <a:pt x="319" y="277"/>
                </a:lnTo>
                <a:lnTo>
                  <a:pt x="327" y="272"/>
                </a:lnTo>
                <a:lnTo>
                  <a:pt x="337" y="269"/>
                </a:lnTo>
                <a:lnTo>
                  <a:pt x="346" y="266"/>
                </a:lnTo>
                <a:lnTo>
                  <a:pt x="357" y="265"/>
                </a:lnTo>
                <a:lnTo>
                  <a:pt x="368" y="264"/>
                </a:lnTo>
                <a:lnTo>
                  <a:pt x="368" y="264"/>
                </a:lnTo>
                <a:lnTo>
                  <a:pt x="379" y="265"/>
                </a:lnTo>
                <a:lnTo>
                  <a:pt x="390" y="266"/>
                </a:lnTo>
                <a:lnTo>
                  <a:pt x="399" y="269"/>
                </a:lnTo>
                <a:lnTo>
                  <a:pt x="409" y="272"/>
                </a:lnTo>
                <a:lnTo>
                  <a:pt x="417" y="277"/>
                </a:lnTo>
                <a:lnTo>
                  <a:pt x="427" y="282"/>
                </a:lnTo>
                <a:lnTo>
                  <a:pt x="434" y="288"/>
                </a:lnTo>
                <a:lnTo>
                  <a:pt x="441" y="295"/>
                </a:lnTo>
                <a:lnTo>
                  <a:pt x="448" y="303"/>
                </a:lnTo>
                <a:lnTo>
                  <a:pt x="454" y="310"/>
                </a:lnTo>
                <a:lnTo>
                  <a:pt x="459" y="319"/>
                </a:lnTo>
                <a:lnTo>
                  <a:pt x="464" y="328"/>
                </a:lnTo>
                <a:lnTo>
                  <a:pt x="468" y="337"/>
                </a:lnTo>
                <a:lnTo>
                  <a:pt x="470" y="347"/>
                </a:lnTo>
                <a:lnTo>
                  <a:pt x="471" y="358"/>
                </a:lnTo>
                <a:lnTo>
                  <a:pt x="472" y="369"/>
                </a:lnTo>
                <a:lnTo>
                  <a:pt x="472" y="369"/>
                </a:lnTo>
                <a:lnTo>
                  <a:pt x="471" y="380"/>
                </a:lnTo>
                <a:lnTo>
                  <a:pt x="470" y="390"/>
                </a:lnTo>
                <a:lnTo>
                  <a:pt x="468" y="400"/>
                </a:lnTo>
                <a:lnTo>
                  <a:pt x="464" y="410"/>
                </a:lnTo>
                <a:lnTo>
                  <a:pt x="459" y="418"/>
                </a:lnTo>
                <a:lnTo>
                  <a:pt x="454" y="428"/>
                </a:lnTo>
                <a:lnTo>
                  <a:pt x="448" y="435"/>
                </a:lnTo>
                <a:lnTo>
                  <a:pt x="441" y="442"/>
                </a:lnTo>
                <a:lnTo>
                  <a:pt x="434" y="450"/>
                </a:lnTo>
                <a:lnTo>
                  <a:pt x="427" y="456"/>
                </a:lnTo>
                <a:lnTo>
                  <a:pt x="417" y="460"/>
                </a:lnTo>
                <a:lnTo>
                  <a:pt x="409" y="465"/>
                </a:lnTo>
                <a:lnTo>
                  <a:pt x="399" y="469"/>
                </a:lnTo>
                <a:lnTo>
                  <a:pt x="390" y="471"/>
                </a:lnTo>
                <a:lnTo>
                  <a:pt x="379" y="472"/>
                </a:lnTo>
                <a:lnTo>
                  <a:pt x="368" y="474"/>
                </a:lnTo>
                <a:lnTo>
                  <a:pt x="368" y="474"/>
                </a:lnTo>
                <a:close/>
                <a:moveTo>
                  <a:pt x="668" y="0"/>
                </a:moveTo>
                <a:lnTo>
                  <a:pt x="67" y="0"/>
                </a:lnTo>
                <a:lnTo>
                  <a:pt x="67" y="0"/>
                </a:lnTo>
                <a:lnTo>
                  <a:pt x="53" y="1"/>
                </a:lnTo>
                <a:lnTo>
                  <a:pt x="41" y="5"/>
                </a:lnTo>
                <a:lnTo>
                  <a:pt x="30" y="12"/>
                </a:lnTo>
                <a:lnTo>
                  <a:pt x="19" y="19"/>
                </a:lnTo>
                <a:lnTo>
                  <a:pt x="12" y="30"/>
                </a:lnTo>
                <a:lnTo>
                  <a:pt x="5" y="41"/>
                </a:lnTo>
                <a:lnTo>
                  <a:pt x="1" y="53"/>
                </a:lnTo>
                <a:lnTo>
                  <a:pt x="0" y="68"/>
                </a:lnTo>
                <a:lnTo>
                  <a:pt x="0" y="670"/>
                </a:lnTo>
                <a:lnTo>
                  <a:pt x="0" y="670"/>
                </a:lnTo>
                <a:lnTo>
                  <a:pt x="1" y="685"/>
                </a:lnTo>
                <a:lnTo>
                  <a:pt x="5" y="697"/>
                </a:lnTo>
                <a:lnTo>
                  <a:pt x="12" y="707"/>
                </a:lnTo>
                <a:lnTo>
                  <a:pt x="19" y="718"/>
                </a:lnTo>
                <a:lnTo>
                  <a:pt x="30" y="725"/>
                </a:lnTo>
                <a:lnTo>
                  <a:pt x="41" y="733"/>
                </a:lnTo>
                <a:lnTo>
                  <a:pt x="53" y="736"/>
                </a:lnTo>
                <a:lnTo>
                  <a:pt x="67" y="738"/>
                </a:lnTo>
                <a:lnTo>
                  <a:pt x="668" y="738"/>
                </a:lnTo>
                <a:lnTo>
                  <a:pt x="668" y="738"/>
                </a:lnTo>
                <a:lnTo>
                  <a:pt x="683" y="736"/>
                </a:lnTo>
                <a:lnTo>
                  <a:pt x="695" y="733"/>
                </a:lnTo>
                <a:lnTo>
                  <a:pt x="706" y="725"/>
                </a:lnTo>
                <a:lnTo>
                  <a:pt x="716" y="718"/>
                </a:lnTo>
                <a:lnTo>
                  <a:pt x="724" y="707"/>
                </a:lnTo>
                <a:lnTo>
                  <a:pt x="731" y="697"/>
                </a:lnTo>
                <a:lnTo>
                  <a:pt x="734" y="685"/>
                </a:lnTo>
                <a:lnTo>
                  <a:pt x="736" y="670"/>
                </a:lnTo>
                <a:lnTo>
                  <a:pt x="736" y="68"/>
                </a:lnTo>
                <a:lnTo>
                  <a:pt x="736" y="68"/>
                </a:lnTo>
                <a:lnTo>
                  <a:pt x="734" y="53"/>
                </a:lnTo>
                <a:lnTo>
                  <a:pt x="731" y="41"/>
                </a:lnTo>
                <a:lnTo>
                  <a:pt x="724" y="30"/>
                </a:lnTo>
                <a:lnTo>
                  <a:pt x="716" y="19"/>
                </a:lnTo>
                <a:lnTo>
                  <a:pt x="706" y="12"/>
                </a:lnTo>
                <a:lnTo>
                  <a:pt x="695" y="5"/>
                </a:lnTo>
                <a:lnTo>
                  <a:pt x="683" y="1"/>
                </a:lnTo>
                <a:lnTo>
                  <a:pt x="668" y="0"/>
                </a:lnTo>
                <a:lnTo>
                  <a:pt x="668" y="0"/>
                </a:lnTo>
                <a:close/>
                <a:moveTo>
                  <a:pt x="100" y="63"/>
                </a:moveTo>
                <a:lnTo>
                  <a:pt x="100" y="63"/>
                </a:lnTo>
                <a:lnTo>
                  <a:pt x="108" y="64"/>
                </a:lnTo>
                <a:lnTo>
                  <a:pt x="116" y="66"/>
                </a:lnTo>
                <a:lnTo>
                  <a:pt x="122" y="70"/>
                </a:lnTo>
                <a:lnTo>
                  <a:pt x="128" y="74"/>
                </a:lnTo>
                <a:lnTo>
                  <a:pt x="131" y="80"/>
                </a:lnTo>
                <a:lnTo>
                  <a:pt x="135" y="86"/>
                </a:lnTo>
                <a:lnTo>
                  <a:pt x="137" y="93"/>
                </a:lnTo>
                <a:lnTo>
                  <a:pt x="138" y="100"/>
                </a:lnTo>
                <a:lnTo>
                  <a:pt x="138" y="100"/>
                </a:lnTo>
                <a:lnTo>
                  <a:pt x="137" y="109"/>
                </a:lnTo>
                <a:lnTo>
                  <a:pt x="135" y="116"/>
                </a:lnTo>
                <a:lnTo>
                  <a:pt x="131" y="122"/>
                </a:lnTo>
                <a:lnTo>
                  <a:pt x="128" y="128"/>
                </a:lnTo>
                <a:lnTo>
                  <a:pt x="122" y="131"/>
                </a:lnTo>
                <a:lnTo>
                  <a:pt x="116" y="135"/>
                </a:lnTo>
                <a:lnTo>
                  <a:pt x="108" y="137"/>
                </a:lnTo>
                <a:lnTo>
                  <a:pt x="100" y="139"/>
                </a:lnTo>
                <a:lnTo>
                  <a:pt x="100" y="139"/>
                </a:lnTo>
                <a:lnTo>
                  <a:pt x="93" y="137"/>
                </a:lnTo>
                <a:lnTo>
                  <a:pt x="85" y="135"/>
                </a:lnTo>
                <a:lnTo>
                  <a:pt x="79" y="131"/>
                </a:lnTo>
                <a:lnTo>
                  <a:pt x="73" y="128"/>
                </a:lnTo>
                <a:lnTo>
                  <a:pt x="70" y="122"/>
                </a:lnTo>
                <a:lnTo>
                  <a:pt x="66" y="116"/>
                </a:lnTo>
                <a:lnTo>
                  <a:pt x="64" y="109"/>
                </a:lnTo>
                <a:lnTo>
                  <a:pt x="63" y="100"/>
                </a:lnTo>
                <a:lnTo>
                  <a:pt x="63" y="100"/>
                </a:lnTo>
                <a:lnTo>
                  <a:pt x="64" y="93"/>
                </a:lnTo>
                <a:lnTo>
                  <a:pt x="66" y="86"/>
                </a:lnTo>
                <a:lnTo>
                  <a:pt x="70" y="80"/>
                </a:lnTo>
                <a:lnTo>
                  <a:pt x="73" y="74"/>
                </a:lnTo>
                <a:lnTo>
                  <a:pt x="79" y="70"/>
                </a:lnTo>
                <a:lnTo>
                  <a:pt x="85" y="66"/>
                </a:lnTo>
                <a:lnTo>
                  <a:pt x="93" y="64"/>
                </a:lnTo>
                <a:lnTo>
                  <a:pt x="100" y="63"/>
                </a:lnTo>
                <a:lnTo>
                  <a:pt x="100" y="63"/>
                </a:lnTo>
                <a:close/>
                <a:moveTo>
                  <a:pt x="100" y="675"/>
                </a:moveTo>
                <a:lnTo>
                  <a:pt x="100" y="675"/>
                </a:lnTo>
                <a:lnTo>
                  <a:pt x="93" y="674"/>
                </a:lnTo>
                <a:lnTo>
                  <a:pt x="85" y="671"/>
                </a:lnTo>
                <a:lnTo>
                  <a:pt x="79" y="668"/>
                </a:lnTo>
                <a:lnTo>
                  <a:pt x="73" y="664"/>
                </a:lnTo>
                <a:lnTo>
                  <a:pt x="70" y="658"/>
                </a:lnTo>
                <a:lnTo>
                  <a:pt x="66" y="652"/>
                </a:lnTo>
                <a:lnTo>
                  <a:pt x="64" y="645"/>
                </a:lnTo>
                <a:lnTo>
                  <a:pt x="63" y="638"/>
                </a:lnTo>
                <a:lnTo>
                  <a:pt x="63" y="638"/>
                </a:lnTo>
                <a:lnTo>
                  <a:pt x="64" y="629"/>
                </a:lnTo>
                <a:lnTo>
                  <a:pt x="66" y="622"/>
                </a:lnTo>
                <a:lnTo>
                  <a:pt x="70" y="616"/>
                </a:lnTo>
                <a:lnTo>
                  <a:pt x="73" y="610"/>
                </a:lnTo>
                <a:lnTo>
                  <a:pt x="79" y="606"/>
                </a:lnTo>
                <a:lnTo>
                  <a:pt x="85" y="603"/>
                </a:lnTo>
                <a:lnTo>
                  <a:pt x="93" y="600"/>
                </a:lnTo>
                <a:lnTo>
                  <a:pt x="100" y="599"/>
                </a:lnTo>
                <a:lnTo>
                  <a:pt x="100" y="599"/>
                </a:lnTo>
                <a:lnTo>
                  <a:pt x="108" y="600"/>
                </a:lnTo>
                <a:lnTo>
                  <a:pt x="116" y="603"/>
                </a:lnTo>
                <a:lnTo>
                  <a:pt x="122" y="606"/>
                </a:lnTo>
                <a:lnTo>
                  <a:pt x="128" y="610"/>
                </a:lnTo>
                <a:lnTo>
                  <a:pt x="131" y="616"/>
                </a:lnTo>
                <a:lnTo>
                  <a:pt x="135" y="622"/>
                </a:lnTo>
                <a:lnTo>
                  <a:pt x="137" y="629"/>
                </a:lnTo>
                <a:lnTo>
                  <a:pt x="138" y="638"/>
                </a:lnTo>
                <a:lnTo>
                  <a:pt x="138" y="638"/>
                </a:lnTo>
                <a:lnTo>
                  <a:pt x="137" y="645"/>
                </a:lnTo>
                <a:lnTo>
                  <a:pt x="135" y="652"/>
                </a:lnTo>
                <a:lnTo>
                  <a:pt x="131" y="658"/>
                </a:lnTo>
                <a:lnTo>
                  <a:pt x="128" y="664"/>
                </a:lnTo>
                <a:lnTo>
                  <a:pt x="122" y="668"/>
                </a:lnTo>
                <a:lnTo>
                  <a:pt x="116" y="671"/>
                </a:lnTo>
                <a:lnTo>
                  <a:pt x="108" y="674"/>
                </a:lnTo>
                <a:lnTo>
                  <a:pt x="100" y="675"/>
                </a:lnTo>
                <a:lnTo>
                  <a:pt x="100" y="675"/>
                </a:lnTo>
                <a:close/>
                <a:moveTo>
                  <a:pt x="368" y="641"/>
                </a:moveTo>
                <a:lnTo>
                  <a:pt x="368" y="641"/>
                </a:lnTo>
                <a:lnTo>
                  <a:pt x="340" y="640"/>
                </a:lnTo>
                <a:lnTo>
                  <a:pt x="313" y="635"/>
                </a:lnTo>
                <a:lnTo>
                  <a:pt x="287" y="629"/>
                </a:lnTo>
                <a:lnTo>
                  <a:pt x="262" y="619"/>
                </a:lnTo>
                <a:lnTo>
                  <a:pt x="238" y="609"/>
                </a:lnTo>
                <a:lnTo>
                  <a:pt x="216" y="594"/>
                </a:lnTo>
                <a:lnTo>
                  <a:pt x="195" y="578"/>
                </a:lnTo>
                <a:lnTo>
                  <a:pt x="176" y="562"/>
                </a:lnTo>
                <a:lnTo>
                  <a:pt x="159" y="542"/>
                </a:lnTo>
                <a:lnTo>
                  <a:pt x="143" y="521"/>
                </a:lnTo>
                <a:lnTo>
                  <a:pt x="129" y="499"/>
                </a:lnTo>
                <a:lnTo>
                  <a:pt x="118" y="475"/>
                </a:lnTo>
                <a:lnTo>
                  <a:pt x="108" y="450"/>
                </a:lnTo>
                <a:lnTo>
                  <a:pt x="102" y="424"/>
                </a:lnTo>
                <a:lnTo>
                  <a:pt x="97" y="397"/>
                </a:lnTo>
                <a:lnTo>
                  <a:pt x="96" y="369"/>
                </a:lnTo>
                <a:lnTo>
                  <a:pt x="96" y="369"/>
                </a:lnTo>
                <a:lnTo>
                  <a:pt x="97" y="341"/>
                </a:lnTo>
                <a:lnTo>
                  <a:pt x="102" y="313"/>
                </a:lnTo>
                <a:lnTo>
                  <a:pt x="108" y="288"/>
                </a:lnTo>
                <a:lnTo>
                  <a:pt x="118" y="263"/>
                </a:lnTo>
                <a:lnTo>
                  <a:pt x="129" y="239"/>
                </a:lnTo>
                <a:lnTo>
                  <a:pt x="143" y="217"/>
                </a:lnTo>
                <a:lnTo>
                  <a:pt x="159" y="195"/>
                </a:lnTo>
                <a:lnTo>
                  <a:pt x="176" y="176"/>
                </a:lnTo>
                <a:lnTo>
                  <a:pt x="195" y="159"/>
                </a:lnTo>
                <a:lnTo>
                  <a:pt x="216" y="143"/>
                </a:lnTo>
                <a:lnTo>
                  <a:pt x="238" y="129"/>
                </a:lnTo>
                <a:lnTo>
                  <a:pt x="262" y="118"/>
                </a:lnTo>
                <a:lnTo>
                  <a:pt x="287" y="109"/>
                </a:lnTo>
                <a:lnTo>
                  <a:pt x="313" y="103"/>
                </a:lnTo>
                <a:lnTo>
                  <a:pt x="340" y="98"/>
                </a:lnTo>
                <a:lnTo>
                  <a:pt x="368" y="96"/>
                </a:lnTo>
                <a:lnTo>
                  <a:pt x="368" y="96"/>
                </a:lnTo>
                <a:lnTo>
                  <a:pt x="396" y="98"/>
                </a:lnTo>
                <a:lnTo>
                  <a:pt x="423" y="103"/>
                </a:lnTo>
                <a:lnTo>
                  <a:pt x="448" y="109"/>
                </a:lnTo>
                <a:lnTo>
                  <a:pt x="474" y="118"/>
                </a:lnTo>
                <a:lnTo>
                  <a:pt x="498" y="129"/>
                </a:lnTo>
                <a:lnTo>
                  <a:pt x="519" y="143"/>
                </a:lnTo>
                <a:lnTo>
                  <a:pt x="541" y="159"/>
                </a:lnTo>
                <a:lnTo>
                  <a:pt x="560" y="176"/>
                </a:lnTo>
                <a:lnTo>
                  <a:pt x="577" y="195"/>
                </a:lnTo>
                <a:lnTo>
                  <a:pt x="593" y="217"/>
                </a:lnTo>
                <a:lnTo>
                  <a:pt x="607" y="239"/>
                </a:lnTo>
                <a:lnTo>
                  <a:pt x="618" y="263"/>
                </a:lnTo>
                <a:lnTo>
                  <a:pt x="628" y="288"/>
                </a:lnTo>
                <a:lnTo>
                  <a:pt x="634" y="313"/>
                </a:lnTo>
                <a:lnTo>
                  <a:pt x="638" y="341"/>
                </a:lnTo>
                <a:lnTo>
                  <a:pt x="640" y="369"/>
                </a:lnTo>
                <a:lnTo>
                  <a:pt x="640" y="369"/>
                </a:lnTo>
                <a:lnTo>
                  <a:pt x="638" y="397"/>
                </a:lnTo>
                <a:lnTo>
                  <a:pt x="634" y="424"/>
                </a:lnTo>
                <a:lnTo>
                  <a:pt x="628" y="450"/>
                </a:lnTo>
                <a:lnTo>
                  <a:pt x="618" y="475"/>
                </a:lnTo>
                <a:lnTo>
                  <a:pt x="607" y="499"/>
                </a:lnTo>
                <a:lnTo>
                  <a:pt x="593" y="521"/>
                </a:lnTo>
                <a:lnTo>
                  <a:pt x="577" y="542"/>
                </a:lnTo>
                <a:lnTo>
                  <a:pt x="560" y="562"/>
                </a:lnTo>
                <a:lnTo>
                  <a:pt x="541" y="578"/>
                </a:lnTo>
                <a:lnTo>
                  <a:pt x="519" y="594"/>
                </a:lnTo>
                <a:lnTo>
                  <a:pt x="498" y="609"/>
                </a:lnTo>
                <a:lnTo>
                  <a:pt x="474" y="619"/>
                </a:lnTo>
                <a:lnTo>
                  <a:pt x="448" y="629"/>
                </a:lnTo>
                <a:lnTo>
                  <a:pt x="423" y="635"/>
                </a:lnTo>
                <a:lnTo>
                  <a:pt x="396" y="640"/>
                </a:lnTo>
                <a:lnTo>
                  <a:pt x="368" y="641"/>
                </a:lnTo>
                <a:lnTo>
                  <a:pt x="368" y="641"/>
                </a:lnTo>
                <a:close/>
                <a:moveTo>
                  <a:pt x="636" y="675"/>
                </a:moveTo>
                <a:lnTo>
                  <a:pt x="636" y="675"/>
                </a:lnTo>
                <a:lnTo>
                  <a:pt x="628" y="674"/>
                </a:lnTo>
                <a:lnTo>
                  <a:pt x="620" y="671"/>
                </a:lnTo>
                <a:lnTo>
                  <a:pt x="614" y="668"/>
                </a:lnTo>
                <a:lnTo>
                  <a:pt x="608" y="664"/>
                </a:lnTo>
                <a:lnTo>
                  <a:pt x="605" y="658"/>
                </a:lnTo>
                <a:lnTo>
                  <a:pt x="601" y="652"/>
                </a:lnTo>
                <a:lnTo>
                  <a:pt x="599" y="645"/>
                </a:lnTo>
                <a:lnTo>
                  <a:pt x="597" y="638"/>
                </a:lnTo>
                <a:lnTo>
                  <a:pt x="597" y="638"/>
                </a:lnTo>
                <a:lnTo>
                  <a:pt x="599" y="629"/>
                </a:lnTo>
                <a:lnTo>
                  <a:pt x="601" y="622"/>
                </a:lnTo>
                <a:lnTo>
                  <a:pt x="605" y="616"/>
                </a:lnTo>
                <a:lnTo>
                  <a:pt x="608" y="610"/>
                </a:lnTo>
                <a:lnTo>
                  <a:pt x="614" y="606"/>
                </a:lnTo>
                <a:lnTo>
                  <a:pt x="620" y="603"/>
                </a:lnTo>
                <a:lnTo>
                  <a:pt x="628" y="600"/>
                </a:lnTo>
                <a:lnTo>
                  <a:pt x="636" y="599"/>
                </a:lnTo>
                <a:lnTo>
                  <a:pt x="636" y="599"/>
                </a:lnTo>
                <a:lnTo>
                  <a:pt x="643" y="600"/>
                </a:lnTo>
                <a:lnTo>
                  <a:pt x="650" y="603"/>
                </a:lnTo>
                <a:lnTo>
                  <a:pt x="656" y="606"/>
                </a:lnTo>
                <a:lnTo>
                  <a:pt x="662" y="610"/>
                </a:lnTo>
                <a:lnTo>
                  <a:pt x="666" y="616"/>
                </a:lnTo>
                <a:lnTo>
                  <a:pt x="670" y="622"/>
                </a:lnTo>
                <a:lnTo>
                  <a:pt x="672" y="629"/>
                </a:lnTo>
                <a:lnTo>
                  <a:pt x="673" y="638"/>
                </a:lnTo>
                <a:lnTo>
                  <a:pt x="673" y="638"/>
                </a:lnTo>
                <a:lnTo>
                  <a:pt x="672" y="645"/>
                </a:lnTo>
                <a:lnTo>
                  <a:pt x="670" y="652"/>
                </a:lnTo>
                <a:lnTo>
                  <a:pt x="666" y="658"/>
                </a:lnTo>
                <a:lnTo>
                  <a:pt x="662" y="664"/>
                </a:lnTo>
                <a:lnTo>
                  <a:pt x="656" y="668"/>
                </a:lnTo>
                <a:lnTo>
                  <a:pt x="650" y="671"/>
                </a:lnTo>
                <a:lnTo>
                  <a:pt x="643" y="674"/>
                </a:lnTo>
                <a:lnTo>
                  <a:pt x="636" y="675"/>
                </a:lnTo>
                <a:lnTo>
                  <a:pt x="636" y="675"/>
                </a:lnTo>
                <a:close/>
                <a:moveTo>
                  <a:pt x="636" y="139"/>
                </a:moveTo>
                <a:lnTo>
                  <a:pt x="636" y="139"/>
                </a:lnTo>
                <a:lnTo>
                  <a:pt x="628" y="137"/>
                </a:lnTo>
                <a:lnTo>
                  <a:pt x="620" y="135"/>
                </a:lnTo>
                <a:lnTo>
                  <a:pt x="614" y="131"/>
                </a:lnTo>
                <a:lnTo>
                  <a:pt x="608" y="128"/>
                </a:lnTo>
                <a:lnTo>
                  <a:pt x="605" y="122"/>
                </a:lnTo>
                <a:lnTo>
                  <a:pt x="601" y="116"/>
                </a:lnTo>
                <a:lnTo>
                  <a:pt x="599" y="109"/>
                </a:lnTo>
                <a:lnTo>
                  <a:pt x="597" y="100"/>
                </a:lnTo>
                <a:lnTo>
                  <a:pt x="597" y="100"/>
                </a:lnTo>
                <a:lnTo>
                  <a:pt x="599" y="93"/>
                </a:lnTo>
                <a:lnTo>
                  <a:pt x="601" y="86"/>
                </a:lnTo>
                <a:lnTo>
                  <a:pt x="605" y="80"/>
                </a:lnTo>
                <a:lnTo>
                  <a:pt x="608" y="74"/>
                </a:lnTo>
                <a:lnTo>
                  <a:pt x="614" y="70"/>
                </a:lnTo>
                <a:lnTo>
                  <a:pt x="620" y="66"/>
                </a:lnTo>
                <a:lnTo>
                  <a:pt x="628" y="64"/>
                </a:lnTo>
                <a:lnTo>
                  <a:pt x="636" y="63"/>
                </a:lnTo>
                <a:lnTo>
                  <a:pt x="636" y="63"/>
                </a:lnTo>
                <a:lnTo>
                  <a:pt x="643" y="64"/>
                </a:lnTo>
                <a:lnTo>
                  <a:pt x="650" y="66"/>
                </a:lnTo>
                <a:lnTo>
                  <a:pt x="656" y="70"/>
                </a:lnTo>
                <a:lnTo>
                  <a:pt x="662" y="74"/>
                </a:lnTo>
                <a:lnTo>
                  <a:pt x="666" y="80"/>
                </a:lnTo>
                <a:lnTo>
                  <a:pt x="670" y="86"/>
                </a:lnTo>
                <a:lnTo>
                  <a:pt x="672" y="93"/>
                </a:lnTo>
                <a:lnTo>
                  <a:pt x="673" y="100"/>
                </a:lnTo>
                <a:lnTo>
                  <a:pt x="673" y="100"/>
                </a:lnTo>
                <a:lnTo>
                  <a:pt x="672" y="109"/>
                </a:lnTo>
                <a:lnTo>
                  <a:pt x="670" y="116"/>
                </a:lnTo>
                <a:lnTo>
                  <a:pt x="666" y="122"/>
                </a:lnTo>
                <a:lnTo>
                  <a:pt x="662" y="128"/>
                </a:lnTo>
                <a:lnTo>
                  <a:pt x="656" y="131"/>
                </a:lnTo>
                <a:lnTo>
                  <a:pt x="650" y="135"/>
                </a:lnTo>
                <a:lnTo>
                  <a:pt x="643" y="137"/>
                </a:lnTo>
                <a:lnTo>
                  <a:pt x="636" y="139"/>
                </a:lnTo>
                <a:lnTo>
                  <a:pt x="636" y="13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39" name="Freeform 8"/>
          <p:cNvSpPr>
            <a:spLocks noEditPoints="1"/>
          </p:cNvSpPr>
          <p:nvPr/>
        </p:nvSpPr>
        <p:spPr bwMode="auto">
          <a:xfrm>
            <a:off x="4024506" y="4442354"/>
            <a:ext cx="399743" cy="283450"/>
          </a:xfrm>
          <a:custGeom>
            <a:avLst/>
            <a:gdLst>
              <a:gd name="T0" fmla="*/ 747 w 1356"/>
              <a:gd name="T1" fmla="*/ 10 h 907"/>
              <a:gd name="T2" fmla="*/ 630 w 1356"/>
              <a:gd name="T3" fmla="*/ 1 h 907"/>
              <a:gd name="T4" fmla="*/ 574 w 1356"/>
              <a:gd name="T5" fmla="*/ 66 h 907"/>
              <a:gd name="T6" fmla="*/ 377 w 1356"/>
              <a:gd name="T7" fmla="*/ 100 h 907"/>
              <a:gd name="T8" fmla="*/ 187 w 1356"/>
              <a:gd name="T9" fmla="*/ 215 h 907"/>
              <a:gd name="T10" fmla="*/ 56 w 1356"/>
              <a:gd name="T11" fmla="*/ 391 h 907"/>
              <a:gd name="T12" fmla="*/ 0 w 1356"/>
              <a:gd name="T13" fmla="*/ 609 h 907"/>
              <a:gd name="T14" fmla="*/ 7 w 1356"/>
              <a:gd name="T15" fmla="*/ 829 h 907"/>
              <a:gd name="T16" fmla="*/ 50 w 1356"/>
              <a:gd name="T17" fmla="*/ 896 h 907"/>
              <a:gd name="T18" fmla="*/ 118 w 1356"/>
              <a:gd name="T19" fmla="*/ 904 h 907"/>
              <a:gd name="T20" fmla="*/ 284 w 1356"/>
              <a:gd name="T21" fmla="*/ 794 h 907"/>
              <a:gd name="T22" fmla="*/ 519 w 1356"/>
              <a:gd name="T23" fmla="*/ 629 h 907"/>
              <a:gd name="T24" fmla="*/ 678 w 1356"/>
              <a:gd name="T25" fmla="*/ 596 h 907"/>
              <a:gd name="T26" fmla="*/ 808 w 1356"/>
              <a:gd name="T27" fmla="*/ 618 h 907"/>
              <a:gd name="T28" fmla="*/ 1022 w 1356"/>
              <a:gd name="T29" fmla="*/ 752 h 907"/>
              <a:gd name="T30" fmla="*/ 1228 w 1356"/>
              <a:gd name="T31" fmla="*/ 901 h 907"/>
              <a:gd name="T32" fmla="*/ 1299 w 1356"/>
              <a:gd name="T33" fmla="*/ 899 h 907"/>
              <a:gd name="T34" fmla="*/ 1344 w 1356"/>
              <a:gd name="T35" fmla="*/ 841 h 907"/>
              <a:gd name="T36" fmla="*/ 1356 w 1356"/>
              <a:gd name="T37" fmla="*/ 639 h 907"/>
              <a:gd name="T38" fmla="*/ 1311 w 1356"/>
              <a:gd name="T39" fmla="*/ 416 h 907"/>
              <a:gd name="T40" fmla="*/ 1188 w 1356"/>
              <a:gd name="T41" fmla="*/ 233 h 907"/>
              <a:gd name="T42" fmla="*/ 1005 w 1356"/>
              <a:gd name="T43" fmla="*/ 111 h 907"/>
              <a:gd name="T44" fmla="*/ 782 w 1356"/>
              <a:gd name="T45" fmla="*/ 66 h 907"/>
              <a:gd name="T46" fmla="*/ 366 w 1356"/>
              <a:gd name="T47" fmla="*/ 515 h 907"/>
              <a:gd name="T48" fmla="*/ 338 w 1356"/>
              <a:gd name="T49" fmla="*/ 612 h 907"/>
              <a:gd name="T50" fmla="*/ 295 w 1356"/>
              <a:gd name="T51" fmla="*/ 606 h 907"/>
              <a:gd name="T52" fmla="*/ 265 w 1356"/>
              <a:gd name="T53" fmla="*/ 509 h 907"/>
              <a:gd name="T54" fmla="*/ 170 w 1356"/>
              <a:gd name="T55" fmla="*/ 478 h 907"/>
              <a:gd name="T56" fmla="*/ 143 w 1356"/>
              <a:gd name="T57" fmla="*/ 435 h 907"/>
              <a:gd name="T58" fmla="*/ 206 w 1356"/>
              <a:gd name="T59" fmla="*/ 394 h 907"/>
              <a:gd name="T60" fmla="*/ 274 w 1356"/>
              <a:gd name="T61" fmla="*/ 326 h 907"/>
              <a:gd name="T62" fmla="*/ 315 w 1356"/>
              <a:gd name="T63" fmla="*/ 263 h 907"/>
              <a:gd name="T64" fmla="*/ 358 w 1356"/>
              <a:gd name="T65" fmla="*/ 290 h 907"/>
              <a:gd name="T66" fmla="*/ 385 w 1356"/>
              <a:gd name="T67" fmla="*/ 388 h 907"/>
              <a:gd name="T68" fmla="*/ 487 w 1356"/>
              <a:gd name="T69" fmla="*/ 415 h 907"/>
              <a:gd name="T70" fmla="*/ 492 w 1356"/>
              <a:gd name="T71" fmla="*/ 458 h 907"/>
              <a:gd name="T72" fmla="*/ 908 w 1356"/>
              <a:gd name="T73" fmla="*/ 436 h 907"/>
              <a:gd name="T74" fmla="*/ 839 w 1356"/>
              <a:gd name="T75" fmla="*/ 457 h 907"/>
              <a:gd name="T76" fmla="*/ 805 w 1356"/>
              <a:gd name="T77" fmla="*/ 393 h 907"/>
              <a:gd name="T78" fmla="*/ 861 w 1356"/>
              <a:gd name="T79" fmla="*/ 348 h 907"/>
              <a:gd name="T80" fmla="*/ 917 w 1356"/>
              <a:gd name="T81" fmla="*/ 393 h 907"/>
              <a:gd name="T82" fmla="*/ 912 w 1356"/>
              <a:gd name="T83" fmla="*/ 230 h 907"/>
              <a:gd name="T84" fmla="*/ 983 w 1356"/>
              <a:gd name="T85" fmla="*/ 223 h 907"/>
              <a:gd name="T86" fmla="*/ 998 w 1356"/>
              <a:gd name="T87" fmla="*/ 302 h 907"/>
              <a:gd name="T88" fmla="*/ 930 w 1356"/>
              <a:gd name="T89" fmla="*/ 323 h 907"/>
              <a:gd name="T90" fmla="*/ 895 w 1356"/>
              <a:gd name="T91" fmla="*/ 259 h 907"/>
              <a:gd name="T92" fmla="*/ 1008 w 1356"/>
              <a:gd name="T93" fmla="*/ 541 h 907"/>
              <a:gd name="T94" fmla="*/ 939 w 1356"/>
              <a:gd name="T95" fmla="*/ 520 h 907"/>
              <a:gd name="T96" fmla="*/ 946 w 1356"/>
              <a:gd name="T97" fmla="*/ 448 h 907"/>
              <a:gd name="T98" fmla="*/ 1018 w 1356"/>
              <a:gd name="T99" fmla="*/ 442 h 907"/>
              <a:gd name="T100" fmla="*/ 1033 w 1356"/>
              <a:gd name="T101" fmla="*/ 521 h 907"/>
              <a:gd name="T102" fmla="*/ 1078 w 1356"/>
              <a:gd name="T103" fmla="*/ 412 h 907"/>
              <a:gd name="T104" fmla="*/ 1021 w 1356"/>
              <a:gd name="T105" fmla="*/ 365 h 907"/>
              <a:gd name="T106" fmla="*/ 1056 w 1356"/>
              <a:gd name="T107" fmla="*/ 302 h 907"/>
              <a:gd name="T108" fmla="*/ 1125 w 1356"/>
              <a:gd name="T109" fmla="*/ 324 h 907"/>
              <a:gd name="T110" fmla="*/ 1250 w 1356"/>
              <a:gd name="T111" fmla="*/ 471 h 907"/>
              <a:gd name="T112" fmla="*/ 1182 w 1356"/>
              <a:gd name="T113" fmla="*/ 492 h 907"/>
              <a:gd name="T114" fmla="*/ 1147 w 1356"/>
              <a:gd name="T115" fmla="*/ 428 h 907"/>
              <a:gd name="T116" fmla="*/ 1202 w 1356"/>
              <a:gd name="T117" fmla="*/ 382 h 907"/>
              <a:gd name="T118" fmla="*/ 1259 w 1356"/>
              <a:gd name="T119" fmla="*/ 428 h 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356" h="907">
                <a:moveTo>
                  <a:pt x="782" y="66"/>
                </a:moveTo>
                <a:lnTo>
                  <a:pt x="778" y="66"/>
                </a:lnTo>
                <a:lnTo>
                  <a:pt x="778" y="66"/>
                </a:lnTo>
                <a:lnTo>
                  <a:pt x="775" y="52"/>
                </a:lnTo>
                <a:lnTo>
                  <a:pt x="771" y="40"/>
                </a:lnTo>
                <a:lnTo>
                  <a:pt x="764" y="28"/>
                </a:lnTo>
                <a:lnTo>
                  <a:pt x="757" y="18"/>
                </a:lnTo>
                <a:lnTo>
                  <a:pt x="747" y="10"/>
                </a:lnTo>
                <a:lnTo>
                  <a:pt x="737" y="4"/>
                </a:lnTo>
                <a:lnTo>
                  <a:pt x="726" y="1"/>
                </a:lnTo>
                <a:lnTo>
                  <a:pt x="721" y="0"/>
                </a:lnTo>
                <a:lnTo>
                  <a:pt x="715" y="0"/>
                </a:lnTo>
                <a:lnTo>
                  <a:pt x="641" y="0"/>
                </a:lnTo>
                <a:lnTo>
                  <a:pt x="641" y="0"/>
                </a:lnTo>
                <a:lnTo>
                  <a:pt x="635" y="0"/>
                </a:lnTo>
                <a:lnTo>
                  <a:pt x="630" y="1"/>
                </a:lnTo>
                <a:lnTo>
                  <a:pt x="619" y="4"/>
                </a:lnTo>
                <a:lnTo>
                  <a:pt x="608" y="10"/>
                </a:lnTo>
                <a:lnTo>
                  <a:pt x="599" y="18"/>
                </a:lnTo>
                <a:lnTo>
                  <a:pt x="592" y="28"/>
                </a:lnTo>
                <a:lnTo>
                  <a:pt x="585" y="40"/>
                </a:lnTo>
                <a:lnTo>
                  <a:pt x="581" y="52"/>
                </a:lnTo>
                <a:lnTo>
                  <a:pt x="578" y="66"/>
                </a:lnTo>
                <a:lnTo>
                  <a:pt x="574" y="66"/>
                </a:lnTo>
                <a:lnTo>
                  <a:pt x="574" y="66"/>
                </a:lnTo>
                <a:lnTo>
                  <a:pt x="545" y="67"/>
                </a:lnTo>
                <a:lnTo>
                  <a:pt x="516" y="69"/>
                </a:lnTo>
                <a:lnTo>
                  <a:pt x="487" y="72"/>
                </a:lnTo>
                <a:lnTo>
                  <a:pt x="458" y="77"/>
                </a:lnTo>
                <a:lnTo>
                  <a:pt x="430" y="84"/>
                </a:lnTo>
                <a:lnTo>
                  <a:pt x="403" y="92"/>
                </a:lnTo>
                <a:lnTo>
                  <a:pt x="377" y="100"/>
                </a:lnTo>
                <a:lnTo>
                  <a:pt x="351" y="111"/>
                </a:lnTo>
                <a:lnTo>
                  <a:pt x="325" y="122"/>
                </a:lnTo>
                <a:lnTo>
                  <a:pt x="300" y="135"/>
                </a:lnTo>
                <a:lnTo>
                  <a:pt x="276" y="149"/>
                </a:lnTo>
                <a:lnTo>
                  <a:pt x="254" y="164"/>
                </a:lnTo>
                <a:lnTo>
                  <a:pt x="231" y="180"/>
                </a:lnTo>
                <a:lnTo>
                  <a:pt x="209" y="196"/>
                </a:lnTo>
                <a:lnTo>
                  <a:pt x="187" y="215"/>
                </a:lnTo>
                <a:lnTo>
                  <a:pt x="168" y="233"/>
                </a:lnTo>
                <a:lnTo>
                  <a:pt x="149" y="254"/>
                </a:lnTo>
                <a:lnTo>
                  <a:pt x="131" y="274"/>
                </a:lnTo>
                <a:lnTo>
                  <a:pt x="114" y="296"/>
                </a:lnTo>
                <a:lnTo>
                  <a:pt x="97" y="319"/>
                </a:lnTo>
                <a:lnTo>
                  <a:pt x="83" y="341"/>
                </a:lnTo>
                <a:lnTo>
                  <a:pt x="69" y="366"/>
                </a:lnTo>
                <a:lnTo>
                  <a:pt x="56" y="391"/>
                </a:lnTo>
                <a:lnTo>
                  <a:pt x="44" y="416"/>
                </a:lnTo>
                <a:lnTo>
                  <a:pt x="35" y="442"/>
                </a:lnTo>
                <a:lnTo>
                  <a:pt x="26" y="469"/>
                </a:lnTo>
                <a:lnTo>
                  <a:pt x="17" y="496"/>
                </a:lnTo>
                <a:lnTo>
                  <a:pt x="12" y="524"/>
                </a:lnTo>
                <a:lnTo>
                  <a:pt x="6" y="552"/>
                </a:lnTo>
                <a:lnTo>
                  <a:pt x="3" y="580"/>
                </a:lnTo>
                <a:lnTo>
                  <a:pt x="0" y="609"/>
                </a:lnTo>
                <a:lnTo>
                  <a:pt x="0" y="639"/>
                </a:lnTo>
                <a:lnTo>
                  <a:pt x="0" y="753"/>
                </a:lnTo>
                <a:lnTo>
                  <a:pt x="0" y="753"/>
                </a:lnTo>
                <a:lnTo>
                  <a:pt x="0" y="771"/>
                </a:lnTo>
                <a:lnTo>
                  <a:pt x="1" y="787"/>
                </a:lnTo>
                <a:lnTo>
                  <a:pt x="3" y="802"/>
                </a:lnTo>
                <a:lnTo>
                  <a:pt x="5" y="816"/>
                </a:lnTo>
                <a:lnTo>
                  <a:pt x="7" y="829"/>
                </a:lnTo>
                <a:lnTo>
                  <a:pt x="11" y="841"/>
                </a:lnTo>
                <a:lnTo>
                  <a:pt x="15" y="852"/>
                </a:lnTo>
                <a:lnTo>
                  <a:pt x="19" y="861"/>
                </a:lnTo>
                <a:lnTo>
                  <a:pt x="25" y="870"/>
                </a:lnTo>
                <a:lnTo>
                  <a:pt x="30" y="878"/>
                </a:lnTo>
                <a:lnTo>
                  <a:pt x="37" y="885"/>
                </a:lnTo>
                <a:lnTo>
                  <a:pt x="43" y="891"/>
                </a:lnTo>
                <a:lnTo>
                  <a:pt x="50" y="896"/>
                </a:lnTo>
                <a:lnTo>
                  <a:pt x="57" y="899"/>
                </a:lnTo>
                <a:lnTo>
                  <a:pt x="65" y="902"/>
                </a:lnTo>
                <a:lnTo>
                  <a:pt x="73" y="905"/>
                </a:lnTo>
                <a:lnTo>
                  <a:pt x="81" y="907"/>
                </a:lnTo>
                <a:lnTo>
                  <a:pt x="90" y="907"/>
                </a:lnTo>
                <a:lnTo>
                  <a:pt x="100" y="907"/>
                </a:lnTo>
                <a:lnTo>
                  <a:pt x="108" y="906"/>
                </a:lnTo>
                <a:lnTo>
                  <a:pt x="118" y="904"/>
                </a:lnTo>
                <a:lnTo>
                  <a:pt x="128" y="901"/>
                </a:lnTo>
                <a:lnTo>
                  <a:pt x="148" y="894"/>
                </a:lnTo>
                <a:lnTo>
                  <a:pt x="170" y="884"/>
                </a:lnTo>
                <a:lnTo>
                  <a:pt x="191" y="871"/>
                </a:lnTo>
                <a:lnTo>
                  <a:pt x="213" y="855"/>
                </a:lnTo>
                <a:lnTo>
                  <a:pt x="235" y="838"/>
                </a:lnTo>
                <a:lnTo>
                  <a:pt x="235" y="838"/>
                </a:lnTo>
                <a:lnTo>
                  <a:pt x="284" y="794"/>
                </a:lnTo>
                <a:lnTo>
                  <a:pt x="334" y="752"/>
                </a:lnTo>
                <a:lnTo>
                  <a:pt x="359" y="732"/>
                </a:lnTo>
                <a:lnTo>
                  <a:pt x="384" y="711"/>
                </a:lnTo>
                <a:lnTo>
                  <a:pt x="410" y="693"/>
                </a:lnTo>
                <a:lnTo>
                  <a:pt x="436" y="674"/>
                </a:lnTo>
                <a:lnTo>
                  <a:pt x="463" y="658"/>
                </a:lnTo>
                <a:lnTo>
                  <a:pt x="491" y="643"/>
                </a:lnTo>
                <a:lnTo>
                  <a:pt x="519" y="629"/>
                </a:lnTo>
                <a:lnTo>
                  <a:pt x="548" y="618"/>
                </a:lnTo>
                <a:lnTo>
                  <a:pt x="579" y="608"/>
                </a:lnTo>
                <a:lnTo>
                  <a:pt x="595" y="605"/>
                </a:lnTo>
                <a:lnTo>
                  <a:pt x="611" y="602"/>
                </a:lnTo>
                <a:lnTo>
                  <a:pt x="628" y="600"/>
                </a:lnTo>
                <a:lnTo>
                  <a:pt x="644" y="598"/>
                </a:lnTo>
                <a:lnTo>
                  <a:pt x="661" y="596"/>
                </a:lnTo>
                <a:lnTo>
                  <a:pt x="678" y="596"/>
                </a:lnTo>
                <a:lnTo>
                  <a:pt x="678" y="596"/>
                </a:lnTo>
                <a:lnTo>
                  <a:pt x="695" y="596"/>
                </a:lnTo>
                <a:lnTo>
                  <a:pt x="712" y="598"/>
                </a:lnTo>
                <a:lnTo>
                  <a:pt x="728" y="600"/>
                </a:lnTo>
                <a:lnTo>
                  <a:pt x="745" y="602"/>
                </a:lnTo>
                <a:lnTo>
                  <a:pt x="761" y="605"/>
                </a:lnTo>
                <a:lnTo>
                  <a:pt x="776" y="608"/>
                </a:lnTo>
                <a:lnTo>
                  <a:pt x="808" y="618"/>
                </a:lnTo>
                <a:lnTo>
                  <a:pt x="837" y="629"/>
                </a:lnTo>
                <a:lnTo>
                  <a:pt x="865" y="643"/>
                </a:lnTo>
                <a:lnTo>
                  <a:pt x="893" y="658"/>
                </a:lnTo>
                <a:lnTo>
                  <a:pt x="919" y="674"/>
                </a:lnTo>
                <a:lnTo>
                  <a:pt x="946" y="693"/>
                </a:lnTo>
                <a:lnTo>
                  <a:pt x="972" y="711"/>
                </a:lnTo>
                <a:lnTo>
                  <a:pt x="997" y="732"/>
                </a:lnTo>
                <a:lnTo>
                  <a:pt x="1022" y="752"/>
                </a:lnTo>
                <a:lnTo>
                  <a:pt x="1071" y="794"/>
                </a:lnTo>
                <a:lnTo>
                  <a:pt x="1121" y="838"/>
                </a:lnTo>
                <a:lnTo>
                  <a:pt x="1121" y="838"/>
                </a:lnTo>
                <a:lnTo>
                  <a:pt x="1143" y="855"/>
                </a:lnTo>
                <a:lnTo>
                  <a:pt x="1164" y="871"/>
                </a:lnTo>
                <a:lnTo>
                  <a:pt x="1186" y="884"/>
                </a:lnTo>
                <a:lnTo>
                  <a:pt x="1208" y="894"/>
                </a:lnTo>
                <a:lnTo>
                  <a:pt x="1228" y="901"/>
                </a:lnTo>
                <a:lnTo>
                  <a:pt x="1238" y="904"/>
                </a:lnTo>
                <a:lnTo>
                  <a:pt x="1248" y="906"/>
                </a:lnTo>
                <a:lnTo>
                  <a:pt x="1256" y="907"/>
                </a:lnTo>
                <a:lnTo>
                  <a:pt x="1266" y="907"/>
                </a:lnTo>
                <a:lnTo>
                  <a:pt x="1275" y="907"/>
                </a:lnTo>
                <a:lnTo>
                  <a:pt x="1283" y="905"/>
                </a:lnTo>
                <a:lnTo>
                  <a:pt x="1291" y="902"/>
                </a:lnTo>
                <a:lnTo>
                  <a:pt x="1299" y="899"/>
                </a:lnTo>
                <a:lnTo>
                  <a:pt x="1306" y="896"/>
                </a:lnTo>
                <a:lnTo>
                  <a:pt x="1313" y="891"/>
                </a:lnTo>
                <a:lnTo>
                  <a:pt x="1319" y="885"/>
                </a:lnTo>
                <a:lnTo>
                  <a:pt x="1326" y="878"/>
                </a:lnTo>
                <a:lnTo>
                  <a:pt x="1331" y="870"/>
                </a:lnTo>
                <a:lnTo>
                  <a:pt x="1337" y="861"/>
                </a:lnTo>
                <a:lnTo>
                  <a:pt x="1341" y="852"/>
                </a:lnTo>
                <a:lnTo>
                  <a:pt x="1344" y="841"/>
                </a:lnTo>
                <a:lnTo>
                  <a:pt x="1349" y="829"/>
                </a:lnTo>
                <a:lnTo>
                  <a:pt x="1351" y="816"/>
                </a:lnTo>
                <a:lnTo>
                  <a:pt x="1353" y="802"/>
                </a:lnTo>
                <a:lnTo>
                  <a:pt x="1355" y="787"/>
                </a:lnTo>
                <a:lnTo>
                  <a:pt x="1356" y="771"/>
                </a:lnTo>
                <a:lnTo>
                  <a:pt x="1356" y="753"/>
                </a:lnTo>
                <a:lnTo>
                  <a:pt x="1356" y="639"/>
                </a:lnTo>
                <a:lnTo>
                  <a:pt x="1356" y="639"/>
                </a:lnTo>
                <a:lnTo>
                  <a:pt x="1355" y="609"/>
                </a:lnTo>
                <a:lnTo>
                  <a:pt x="1353" y="580"/>
                </a:lnTo>
                <a:lnTo>
                  <a:pt x="1350" y="552"/>
                </a:lnTo>
                <a:lnTo>
                  <a:pt x="1344" y="524"/>
                </a:lnTo>
                <a:lnTo>
                  <a:pt x="1338" y="496"/>
                </a:lnTo>
                <a:lnTo>
                  <a:pt x="1330" y="469"/>
                </a:lnTo>
                <a:lnTo>
                  <a:pt x="1322" y="442"/>
                </a:lnTo>
                <a:lnTo>
                  <a:pt x="1311" y="416"/>
                </a:lnTo>
                <a:lnTo>
                  <a:pt x="1300" y="391"/>
                </a:lnTo>
                <a:lnTo>
                  <a:pt x="1287" y="366"/>
                </a:lnTo>
                <a:lnTo>
                  <a:pt x="1273" y="341"/>
                </a:lnTo>
                <a:lnTo>
                  <a:pt x="1259" y="319"/>
                </a:lnTo>
                <a:lnTo>
                  <a:pt x="1242" y="296"/>
                </a:lnTo>
                <a:lnTo>
                  <a:pt x="1225" y="274"/>
                </a:lnTo>
                <a:lnTo>
                  <a:pt x="1207" y="254"/>
                </a:lnTo>
                <a:lnTo>
                  <a:pt x="1188" y="233"/>
                </a:lnTo>
                <a:lnTo>
                  <a:pt x="1168" y="215"/>
                </a:lnTo>
                <a:lnTo>
                  <a:pt x="1147" y="196"/>
                </a:lnTo>
                <a:lnTo>
                  <a:pt x="1125" y="180"/>
                </a:lnTo>
                <a:lnTo>
                  <a:pt x="1103" y="164"/>
                </a:lnTo>
                <a:lnTo>
                  <a:pt x="1080" y="149"/>
                </a:lnTo>
                <a:lnTo>
                  <a:pt x="1056" y="135"/>
                </a:lnTo>
                <a:lnTo>
                  <a:pt x="1031" y="122"/>
                </a:lnTo>
                <a:lnTo>
                  <a:pt x="1005" y="111"/>
                </a:lnTo>
                <a:lnTo>
                  <a:pt x="979" y="100"/>
                </a:lnTo>
                <a:lnTo>
                  <a:pt x="953" y="92"/>
                </a:lnTo>
                <a:lnTo>
                  <a:pt x="925" y="84"/>
                </a:lnTo>
                <a:lnTo>
                  <a:pt x="898" y="77"/>
                </a:lnTo>
                <a:lnTo>
                  <a:pt x="869" y="72"/>
                </a:lnTo>
                <a:lnTo>
                  <a:pt x="840" y="69"/>
                </a:lnTo>
                <a:lnTo>
                  <a:pt x="811" y="67"/>
                </a:lnTo>
                <a:lnTo>
                  <a:pt x="782" y="66"/>
                </a:lnTo>
                <a:lnTo>
                  <a:pt x="782" y="66"/>
                </a:lnTo>
                <a:close/>
                <a:moveTo>
                  <a:pt x="434" y="486"/>
                </a:moveTo>
                <a:lnTo>
                  <a:pt x="393" y="486"/>
                </a:lnTo>
                <a:lnTo>
                  <a:pt x="393" y="486"/>
                </a:lnTo>
                <a:lnTo>
                  <a:pt x="388" y="495"/>
                </a:lnTo>
                <a:lnTo>
                  <a:pt x="382" y="502"/>
                </a:lnTo>
                <a:lnTo>
                  <a:pt x="374" y="509"/>
                </a:lnTo>
                <a:lnTo>
                  <a:pt x="366" y="515"/>
                </a:lnTo>
                <a:lnTo>
                  <a:pt x="366" y="553"/>
                </a:lnTo>
                <a:lnTo>
                  <a:pt x="366" y="553"/>
                </a:lnTo>
                <a:lnTo>
                  <a:pt x="365" y="566"/>
                </a:lnTo>
                <a:lnTo>
                  <a:pt x="362" y="578"/>
                </a:lnTo>
                <a:lnTo>
                  <a:pt x="358" y="589"/>
                </a:lnTo>
                <a:lnTo>
                  <a:pt x="352" y="599"/>
                </a:lnTo>
                <a:lnTo>
                  <a:pt x="346" y="606"/>
                </a:lnTo>
                <a:lnTo>
                  <a:pt x="338" y="612"/>
                </a:lnTo>
                <a:lnTo>
                  <a:pt x="329" y="616"/>
                </a:lnTo>
                <a:lnTo>
                  <a:pt x="325" y="617"/>
                </a:lnTo>
                <a:lnTo>
                  <a:pt x="320" y="617"/>
                </a:lnTo>
                <a:lnTo>
                  <a:pt x="320" y="617"/>
                </a:lnTo>
                <a:lnTo>
                  <a:pt x="315" y="617"/>
                </a:lnTo>
                <a:lnTo>
                  <a:pt x="311" y="616"/>
                </a:lnTo>
                <a:lnTo>
                  <a:pt x="302" y="612"/>
                </a:lnTo>
                <a:lnTo>
                  <a:pt x="295" y="606"/>
                </a:lnTo>
                <a:lnTo>
                  <a:pt x="287" y="599"/>
                </a:lnTo>
                <a:lnTo>
                  <a:pt x="282" y="589"/>
                </a:lnTo>
                <a:lnTo>
                  <a:pt x="277" y="578"/>
                </a:lnTo>
                <a:lnTo>
                  <a:pt x="275" y="566"/>
                </a:lnTo>
                <a:lnTo>
                  <a:pt x="274" y="553"/>
                </a:lnTo>
                <a:lnTo>
                  <a:pt x="274" y="515"/>
                </a:lnTo>
                <a:lnTo>
                  <a:pt x="274" y="515"/>
                </a:lnTo>
                <a:lnTo>
                  <a:pt x="265" y="509"/>
                </a:lnTo>
                <a:lnTo>
                  <a:pt x="258" y="502"/>
                </a:lnTo>
                <a:lnTo>
                  <a:pt x="251" y="495"/>
                </a:lnTo>
                <a:lnTo>
                  <a:pt x="246" y="486"/>
                </a:lnTo>
                <a:lnTo>
                  <a:pt x="206" y="486"/>
                </a:lnTo>
                <a:lnTo>
                  <a:pt x="206" y="486"/>
                </a:lnTo>
                <a:lnTo>
                  <a:pt x="193" y="485"/>
                </a:lnTo>
                <a:lnTo>
                  <a:pt x="181" y="482"/>
                </a:lnTo>
                <a:lnTo>
                  <a:pt x="170" y="478"/>
                </a:lnTo>
                <a:lnTo>
                  <a:pt x="161" y="472"/>
                </a:lnTo>
                <a:lnTo>
                  <a:pt x="153" y="466"/>
                </a:lnTo>
                <a:lnTo>
                  <a:pt x="147" y="458"/>
                </a:lnTo>
                <a:lnTo>
                  <a:pt x="144" y="449"/>
                </a:lnTo>
                <a:lnTo>
                  <a:pt x="143" y="445"/>
                </a:lnTo>
                <a:lnTo>
                  <a:pt x="142" y="440"/>
                </a:lnTo>
                <a:lnTo>
                  <a:pt x="142" y="440"/>
                </a:lnTo>
                <a:lnTo>
                  <a:pt x="143" y="435"/>
                </a:lnTo>
                <a:lnTo>
                  <a:pt x="144" y="431"/>
                </a:lnTo>
                <a:lnTo>
                  <a:pt x="147" y="422"/>
                </a:lnTo>
                <a:lnTo>
                  <a:pt x="153" y="415"/>
                </a:lnTo>
                <a:lnTo>
                  <a:pt x="161" y="407"/>
                </a:lnTo>
                <a:lnTo>
                  <a:pt x="170" y="402"/>
                </a:lnTo>
                <a:lnTo>
                  <a:pt x="181" y="398"/>
                </a:lnTo>
                <a:lnTo>
                  <a:pt x="193" y="395"/>
                </a:lnTo>
                <a:lnTo>
                  <a:pt x="206" y="394"/>
                </a:lnTo>
                <a:lnTo>
                  <a:pt x="250" y="394"/>
                </a:lnTo>
                <a:lnTo>
                  <a:pt x="250" y="394"/>
                </a:lnTo>
                <a:lnTo>
                  <a:pt x="256" y="388"/>
                </a:lnTo>
                <a:lnTo>
                  <a:pt x="261" y="382"/>
                </a:lnTo>
                <a:lnTo>
                  <a:pt x="268" y="377"/>
                </a:lnTo>
                <a:lnTo>
                  <a:pt x="274" y="372"/>
                </a:lnTo>
                <a:lnTo>
                  <a:pt x="274" y="326"/>
                </a:lnTo>
                <a:lnTo>
                  <a:pt x="274" y="326"/>
                </a:lnTo>
                <a:lnTo>
                  <a:pt x="275" y="313"/>
                </a:lnTo>
                <a:lnTo>
                  <a:pt x="277" y="301"/>
                </a:lnTo>
                <a:lnTo>
                  <a:pt x="282" y="290"/>
                </a:lnTo>
                <a:lnTo>
                  <a:pt x="287" y="282"/>
                </a:lnTo>
                <a:lnTo>
                  <a:pt x="295" y="274"/>
                </a:lnTo>
                <a:lnTo>
                  <a:pt x="302" y="268"/>
                </a:lnTo>
                <a:lnTo>
                  <a:pt x="311" y="265"/>
                </a:lnTo>
                <a:lnTo>
                  <a:pt x="315" y="263"/>
                </a:lnTo>
                <a:lnTo>
                  <a:pt x="320" y="262"/>
                </a:lnTo>
                <a:lnTo>
                  <a:pt x="320" y="262"/>
                </a:lnTo>
                <a:lnTo>
                  <a:pt x="325" y="263"/>
                </a:lnTo>
                <a:lnTo>
                  <a:pt x="329" y="265"/>
                </a:lnTo>
                <a:lnTo>
                  <a:pt x="338" y="268"/>
                </a:lnTo>
                <a:lnTo>
                  <a:pt x="346" y="274"/>
                </a:lnTo>
                <a:lnTo>
                  <a:pt x="352" y="282"/>
                </a:lnTo>
                <a:lnTo>
                  <a:pt x="358" y="290"/>
                </a:lnTo>
                <a:lnTo>
                  <a:pt x="362" y="301"/>
                </a:lnTo>
                <a:lnTo>
                  <a:pt x="365" y="313"/>
                </a:lnTo>
                <a:lnTo>
                  <a:pt x="366" y="326"/>
                </a:lnTo>
                <a:lnTo>
                  <a:pt x="366" y="372"/>
                </a:lnTo>
                <a:lnTo>
                  <a:pt x="366" y="372"/>
                </a:lnTo>
                <a:lnTo>
                  <a:pt x="373" y="377"/>
                </a:lnTo>
                <a:lnTo>
                  <a:pt x="378" y="382"/>
                </a:lnTo>
                <a:lnTo>
                  <a:pt x="385" y="388"/>
                </a:lnTo>
                <a:lnTo>
                  <a:pt x="389" y="394"/>
                </a:lnTo>
                <a:lnTo>
                  <a:pt x="434" y="394"/>
                </a:lnTo>
                <a:lnTo>
                  <a:pt x="434" y="394"/>
                </a:lnTo>
                <a:lnTo>
                  <a:pt x="447" y="395"/>
                </a:lnTo>
                <a:lnTo>
                  <a:pt x="458" y="398"/>
                </a:lnTo>
                <a:lnTo>
                  <a:pt x="469" y="402"/>
                </a:lnTo>
                <a:lnTo>
                  <a:pt x="479" y="407"/>
                </a:lnTo>
                <a:lnTo>
                  <a:pt x="487" y="415"/>
                </a:lnTo>
                <a:lnTo>
                  <a:pt x="492" y="422"/>
                </a:lnTo>
                <a:lnTo>
                  <a:pt x="496" y="431"/>
                </a:lnTo>
                <a:lnTo>
                  <a:pt x="498" y="435"/>
                </a:lnTo>
                <a:lnTo>
                  <a:pt x="498" y="440"/>
                </a:lnTo>
                <a:lnTo>
                  <a:pt x="498" y="440"/>
                </a:lnTo>
                <a:lnTo>
                  <a:pt x="498" y="445"/>
                </a:lnTo>
                <a:lnTo>
                  <a:pt x="496" y="449"/>
                </a:lnTo>
                <a:lnTo>
                  <a:pt x="492" y="458"/>
                </a:lnTo>
                <a:lnTo>
                  <a:pt x="487" y="466"/>
                </a:lnTo>
                <a:lnTo>
                  <a:pt x="479" y="472"/>
                </a:lnTo>
                <a:lnTo>
                  <a:pt x="469" y="478"/>
                </a:lnTo>
                <a:lnTo>
                  <a:pt x="458" y="482"/>
                </a:lnTo>
                <a:lnTo>
                  <a:pt x="447" y="485"/>
                </a:lnTo>
                <a:lnTo>
                  <a:pt x="434" y="486"/>
                </a:lnTo>
                <a:lnTo>
                  <a:pt x="434" y="486"/>
                </a:lnTo>
                <a:close/>
                <a:moveTo>
                  <a:pt x="908" y="436"/>
                </a:moveTo>
                <a:lnTo>
                  <a:pt x="908" y="436"/>
                </a:lnTo>
                <a:lnTo>
                  <a:pt x="901" y="445"/>
                </a:lnTo>
                <a:lnTo>
                  <a:pt x="892" y="452"/>
                </a:lnTo>
                <a:lnTo>
                  <a:pt x="882" y="457"/>
                </a:lnTo>
                <a:lnTo>
                  <a:pt x="872" y="460"/>
                </a:lnTo>
                <a:lnTo>
                  <a:pt x="861" y="461"/>
                </a:lnTo>
                <a:lnTo>
                  <a:pt x="850" y="460"/>
                </a:lnTo>
                <a:lnTo>
                  <a:pt x="839" y="457"/>
                </a:lnTo>
                <a:lnTo>
                  <a:pt x="829" y="452"/>
                </a:lnTo>
                <a:lnTo>
                  <a:pt x="829" y="452"/>
                </a:lnTo>
                <a:lnTo>
                  <a:pt x="821" y="444"/>
                </a:lnTo>
                <a:lnTo>
                  <a:pt x="813" y="435"/>
                </a:lnTo>
                <a:lnTo>
                  <a:pt x="809" y="426"/>
                </a:lnTo>
                <a:lnTo>
                  <a:pt x="805" y="416"/>
                </a:lnTo>
                <a:lnTo>
                  <a:pt x="804" y="405"/>
                </a:lnTo>
                <a:lnTo>
                  <a:pt x="805" y="393"/>
                </a:lnTo>
                <a:lnTo>
                  <a:pt x="809" y="383"/>
                </a:lnTo>
                <a:lnTo>
                  <a:pt x="814" y="373"/>
                </a:lnTo>
                <a:lnTo>
                  <a:pt x="814" y="373"/>
                </a:lnTo>
                <a:lnTo>
                  <a:pt x="822" y="364"/>
                </a:lnTo>
                <a:lnTo>
                  <a:pt x="830" y="358"/>
                </a:lnTo>
                <a:lnTo>
                  <a:pt x="840" y="352"/>
                </a:lnTo>
                <a:lnTo>
                  <a:pt x="850" y="349"/>
                </a:lnTo>
                <a:lnTo>
                  <a:pt x="861" y="348"/>
                </a:lnTo>
                <a:lnTo>
                  <a:pt x="872" y="349"/>
                </a:lnTo>
                <a:lnTo>
                  <a:pt x="882" y="352"/>
                </a:lnTo>
                <a:lnTo>
                  <a:pt x="892" y="358"/>
                </a:lnTo>
                <a:lnTo>
                  <a:pt x="892" y="358"/>
                </a:lnTo>
                <a:lnTo>
                  <a:pt x="902" y="365"/>
                </a:lnTo>
                <a:lnTo>
                  <a:pt x="908" y="374"/>
                </a:lnTo>
                <a:lnTo>
                  <a:pt x="914" y="383"/>
                </a:lnTo>
                <a:lnTo>
                  <a:pt x="917" y="393"/>
                </a:lnTo>
                <a:lnTo>
                  <a:pt x="918" y="405"/>
                </a:lnTo>
                <a:lnTo>
                  <a:pt x="917" y="416"/>
                </a:lnTo>
                <a:lnTo>
                  <a:pt x="914" y="426"/>
                </a:lnTo>
                <a:lnTo>
                  <a:pt x="908" y="436"/>
                </a:lnTo>
                <a:lnTo>
                  <a:pt x="908" y="436"/>
                </a:lnTo>
                <a:close/>
                <a:moveTo>
                  <a:pt x="904" y="239"/>
                </a:moveTo>
                <a:lnTo>
                  <a:pt x="904" y="239"/>
                </a:lnTo>
                <a:lnTo>
                  <a:pt x="912" y="230"/>
                </a:lnTo>
                <a:lnTo>
                  <a:pt x="920" y="222"/>
                </a:lnTo>
                <a:lnTo>
                  <a:pt x="930" y="218"/>
                </a:lnTo>
                <a:lnTo>
                  <a:pt x="941" y="215"/>
                </a:lnTo>
                <a:lnTo>
                  <a:pt x="952" y="214"/>
                </a:lnTo>
                <a:lnTo>
                  <a:pt x="963" y="215"/>
                </a:lnTo>
                <a:lnTo>
                  <a:pt x="973" y="218"/>
                </a:lnTo>
                <a:lnTo>
                  <a:pt x="983" y="223"/>
                </a:lnTo>
                <a:lnTo>
                  <a:pt x="983" y="223"/>
                </a:lnTo>
                <a:lnTo>
                  <a:pt x="992" y="231"/>
                </a:lnTo>
                <a:lnTo>
                  <a:pt x="1000" y="240"/>
                </a:lnTo>
                <a:lnTo>
                  <a:pt x="1004" y="249"/>
                </a:lnTo>
                <a:lnTo>
                  <a:pt x="1007" y="259"/>
                </a:lnTo>
                <a:lnTo>
                  <a:pt x="1008" y="270"/>
                </a:lnTo>
                <a:lnTo>
                  <a:pt x="1007" y="281"/>
                </a:lnTo>
                <a:lnTo>
                  <a:pt x="1004" y="292"/>
                </a:lnTo>
                <a:lnTo>
                  <a:pt x="998" y="302"/>
                </a:lnTo>
                <a:lnTo>
                  <a:pt x="998" y="302"/>
                </a:lnTo>
                <a:lnTo>
                  <a:pt x="991" y="311"/>
                </a:lnTo>
                <a:lnTo>
                  <a:pt x="982" y="318"/>
                </a:lnTo>
                <a:lnTo>
                  <a:pt x="972" y="323"/>
                </a:lnTo>
                <a:lnTo>
                  <a:pt x="963" y="326"/>
                </a:lnTo>
                <a:lnTo>
                  <a:pt x="952" y="327"/>
                </a:lnTo>
                <a:lnTo>
                  <a:pt x="941" y="326"/>
                </a:lnTo>
                <a:lnTo>
                  <a:pt x="930" y="323"/>
                </a:lnTo>
                <a:lnTo>
                  <a:pt x="920" y="318"/>
                </a:lnTo>
                <a:lnTo>
                  <a:pt x="920" y="318"/>
                </a:lnTo>
                <a:lnTo>
                  <a:pt x="911" y="310"/>
                </a:lnTo>
                <a:lnTo>
                  <a:pt x="904" y="301"/>
                </a:lnTo>
                <a:lnTo>
                  <a:pt x="899" y="292"/>
                </a:lnTo>
                <a:lnTo>
                  <a:pt x="895" y="281"/>
                </a:lnTo>
                <a:lnTo>
                  <a:pt x="894" y="270"/>
                </a:lnTo>
                <a:lnTo>
                  <a:pt x="895" y="259"/>
                </a:lnTo>
                <a:lnTo>
                  <a:pt x="899" y="248"/>
                </a:lnTo>
                <a:lnTo>
                  <a:pt x="904" y="239"/>
                </a:lnTo>
                <a:lnTo>
                  <a:pt x="904" y="239"/>
                </a:lnTo>
                <a:close/>
                <a:moveTo>
                  <a:pt x="1033" y="521"/>
                </a:moveTo>
                <a:lnTo>
                  <a:pt x="1033" y="521"/>
                </a:lnTo>
                <a:lnTo>
                  <a:pt x="1027" y="529"/>
                </a:lnTo>
                <a:lnTo>
                  <a:pt x="1018" y="536"/>
                </a:lnTo>
                <a:lnTo>
                  <a:pt x="1008" y="541"/>
                </a:lnTo>
                <a:lnTo>
                  <a:pt x="997" y="545"/>
                </a:lnTo>
                <a:lnTo>
                  <a:pt x="987" y="546"/>
                </a:lnTo>
                <a:lnTo>
                  <a:pt x="976" y="545"/>
                </a:lnTo>
                <a:lnTo>
                  <a:pt x="965" y="541"/>
                </a:lnTo>
                <a:lnTo>
                  <a:pt x="955" y="536"/>
                </a:lnTo>
                <a:lnTo>
                  <a:pt x="955" y="536"/>
                </a:lnTo>
                <a:lnTo>
                  <a:pt x="946" y="528"/>
                </a:lnTo>
                <a:lnTo>
                  <a:pt x="939" y="520"/>
                </a:lnTo>
                <a:lnTo>
                  <a:pt x="933" y="510"/>
                </a:lnTo>
                <a:lnTo>
                  <a:pt x="931" y="500"/>
                </a:lnTo>
                <a:lnTo>
                  <a:pt x="930" y="489"/>
                </a:lnTo>
                <a:lnTo>
                  <a:pt x="931" y="479"/>
                </a:lnTo>
                <a:lnTo>
                  <a:pt x="934" y="468"/>
                </a:lnTo>
                <a:lnTo>
                  <a:pt x="940" y="457"/>
                </a:lnTo>
                <a:lnTo>
                  <a:pt x="940" y="457"/>
                </a:lnTo>
                <a:lnTo>
                  <a:pt x="946" y="448"/>
                </a:lnTo>
                <a:lnTo>
                  <a:pt x="955" y="442"/>
                </a:lnTo>
                <a:lnTo>
                  <a:pt x="965" y="436"/>
                </a:lnTo>
                <a:lnTo>
                  <a:pt x="976" y="433"/>
                </a:lnTo>
                <a:lnTo>
                  <a:pt x="987" y="432"/>
                </a:lnTo>
                <a:lnTo>
                  <a:pt x="997" y="433"/>
                </a:lnTo>
                <a:lnTo>
                  <a:pt x="1008" y="436"/>
                </a:lnTo>
                <a:lnTo>
                  <a:pt x="1018" y="442"/>
                </a:lnTo>
                <a:lnTo>
                  <a:pt x="1018" y="442"/>
                </a:lnTo>
                <a:lnTo>
                  <a:pt x="1027" y="449"/>
                </a:lnTo>
                <a:lnTo>
                  <a:pt x="1034" y="458"/>
                </a:lnTo>
                <a:lnTo>
                  <a:pt x="1040" y="468"/>
                </a:lnTo>
                <a:lnTo>
                  <a:pt x="1042" y="479"/>
                </a:lnTo>
                <a:lnTo>
                  <a:pt x="1043" y="489"/>
                </a:lnTo>
                <a:lnTo>
                  <a:pt x="1042" y="500"/>
                </a:lnTo>
                <a:lnTo>
                  <a:pt x="1039" y="510"/>
                </a:lnTo>
                <a:lnTo>
                  <a:pt x="1033" y="521"/>
                </a:lnTo>
                <a:lnTo>
                  <a:pt x="1033" y="521"/>
                </a:lnTo>
                <a:close/>
                <a:moveTo>
                  <a:pt x="1124" y="387"/>
                </a:moveTo>
                <a:lnTo>
                  <a:pt x="1124" y="387"/>
                </a:lnTo>
                <a:lnTo>
                  <a:pt x="1117" y="395"/>
                </a:lnTo>
                <a:lnTo>
                  <a:pt x="1108" y="402"/>
                </a:lnTo>
                <a:lnTo>
                  <a:pt x="1098" y="407"/>
                </a:lnTo>
                <a:lnTo>
                  <a:pt x="1088" y="410"/>
                </a:lnTo>
                <a:lnTo>
                  <a:pt x="1078" y="412"/>
                </a:lnTo>
                <a:lnTo>
                  <a:pt x="1067" y="410"/>
                </a:lnTo>
                <a:lnTo>
                  <a:pt x="1056" y="407"/>
                </a:lnTo>
                <a:lnTo>
                  <a:pt x="1045" y="402"/>
                </a:lnTo>
                <a:lnTo>
                  <a:pt x="1045" y="402"/>
                </a:lnTo>
                <a:lnTo>
                  <a:pt x="1036" y="394"/>
                </a:lnTo>
                <a:lnTo>
                  <a:pt x="1030" y="386"/>
                </a:lnTo>
                <a:lnTo>
                  <a:pt x="1024" y="376"/>
                </a:lnTo>
                <a:lnTo>
                  <a:pt x="1021" y="365"/>
                </a:lnTo>
                <a:lnTo>
                  <a:pt x="1020" y="354"/>
                </a:lnTo>
                <a:lnTo>
                  <a:pt x="1021" y="343"/>
                </a:lnTo>
                <a:lnTo>
                  <a:pt x="1024" y="334"/>
                </a:lnTo>
                <a:lnTo>
                  <a:pt x="1030" y="323"/>
                </a:lnTo>
                <a:lnTo>
                  <a:pt x="1030" y="323"/>
                </a:lnTo>
                <a:lnTo>
                  <a:pt x="1037" y="314"/>
                </a:lnTo>
                <a:lnTo>
                  <a:pt x="1046" y="308"/>
                </a:lnTo>
                <a:lnTo>
                  <a:pt x="1056" y="302"/>
                </a:lnTo>
                <a:lnTo>
                  <a:pt x="1067" y="299"/>
                </a:lnTo>
                <a:lnTo>
                  <a:pt x="1078" y="298"/>
                </a:lnTo>
                <a:lnTo>
                  <a:pt x="1088" y="299"/>
                </a:lnTo>
                <a:lnTo>
                  <a:pt x="1099" y="302"/>
                </a:lnTo>
                <a:lnTo>
                  <a:pt x="1109" y="308"/>
                </a:lnTo>
                <a:lnTo>
                  <a:pt x="1109" y="308"/>
                </a:lnTo>
                <a:lnTo>
                  <a:pt x="1118" y="315"/>
                </a:lnTo>
                <a:lnTo>
                  <a:pt x="1125" y="324"/>
                </a:lnTo>
                <a:lnTo>
                  <a:pt x="1130" y="334"/>
                </a:lnTo>
                <a:lnTo>
                  <a:pt x="1133" y="343"/>
                </a:lnTo>
                <a:lnTo>
                  <a:pt x="1134" y="354"/>
                </a:lnTo>
                <a:lnTo>
                  <a:pt x="1133" y="366"/>
                </a:lnTo>
                <a:lnTo>
                  <a:pt x="1130" y="376"/>
                </a:lnTo>
                <a:lnTo>
                  <a:pt x="1124" y="387"/>
                </a:lnTo>
                <a:lnTo>
                  <a:pt x="1124" y="387"/>
                </a:lnTo>
                <a:close/>
                <a:moveTo>
                  <a:pt x="1250" y="471"/>
                </a:moveTo>
                <a:lnTo>
                  <a:pt x="1250" y="471"/>
                </a:lnTo>
                <a:lnTo>
                  <a:pt x="1242" y="480"/>
                </a:lnTo>
                <a:lnTo>
                  <a:pt x="1234" y="486"/>
                </a:lnTo>
                <a:lnTo>
                  <a:pt x="1224" y="492"/>
                </a:lnTo>
                <a:lnTo>
                  <a:pt x="1214" y="495"/>
                </a:lnTo>
                <a:lnTo>
                  <a:pt x="1203" y="496"/>
                </a:lnTo>
                <a:lnTo>
                  <a:pt x="1191" y="495"/>
                </a:lnTo>
                <a:lnTo>
                  <a:pt x="1182" y="492"/>
                </a:lnTo>
                <a:lnTo>
                  <a:pt x="1171" y="486"/>
                </a:lnTo>
                <a:lnTo>
                  <a:pt x="1171" y="486"/>
                </a:lnTo>
                <a:lnTo>
                  <a:pt x="1162" y="479"/>
                </a:lnTo>
                <a:lnTo>
                  <a:pt x="1156" y="470"/>
                </a:lnTo>
                <a:lnTo>
                  <a:pt x="1150" y="460"/>
                </a:lnTo>
                <a:lnTo>
                  <a:pt x="1147" y="451"/>
                </a:lnTo>
                <a:lnTo>
                  <a:pt x="1146" y="440"/>
                </a:lnTo>
                <a:lnTo>
                  <a:pt x="1147" y="428"/>
                </a:lnTo>
                <a:lnTo>
                  <a:pt x="1150" y="418"/>
                </a:lnTo>
                <a:lnTo>
                  <a:pt x="1156" y="407"/>
                </a:lnTo>
                <a:lnTo>
                  <a:pt x="1156" y="407"/>
                </a:lnTo>
                <a:lnTo>
                  <a:pt x="1163" y="399"/>
                </a:lnTo>
                <a:lnTo>
                  <a:pt x="1172" y="392"/>
                </a:lnTo>
                <a:lnTo>
                  <a:pt x="1182" y="387"/>
                </a:lnTo>
                <a:lnTo>
                  <a:pt x="1191" y="383"/>
                </a:lnTo>
                <a:lnTo>
                  <a:pt x="1202" y="382"/>
                </a:lnTo>
                <a:lnTo>
                  <a:pt x="1214" y="383"/>
                </a:lnTo>
                <a:lnTo>
                  <a:pt x="1224" y="387"/>
                </a:lnTo>
                <a:lnTo>
                  <a:pt x="1235" y="392"/>
                </a:lnTo>
                <a:lnTo>
                  <a:pt x="1235" y="392"/>
                </a:lnTo>
                <a:lnTo>
                  <a:pt x="1243" y="400"/>
                </a:lnTo>
                <a:lnTo>
                  <a:pt x="1250" y="408"/>
                </a:lnTo>
                <a:lnTo>
                  <a:pt x="1255" y="418"/>
                </a:lnTo>
                <a:lnTo>
                  <a:pt x="1259" y="428"/>
                </a:lnTo>
                <a:lnTo>
                  <a:pt x="1260" y="439"/>
                </a:lnTo>
                <a:lnTo>
                  <a:pt x="1259" y="451"/>
                </a:lnTo>
                <a:lnTo>
                  <a:pt x="1255" y="460"/>
                </a:lnTo>
                <a:lnTo>
                  <a:pt x="1250" y="471"/>
                </a:lnTo>
                <a:lnTo>
                  <a:pt x="1250" y="47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4937377" y="963128"/>
            <a:ext cx="3851189" cy="5924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300"/>
              </a:spcAft>
            </a:pPr>
            <a:r>
              <a:rPr lang="en-US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=</a:t>
            </a:r>
            <a:r>
              <a:rPr lang="en-US" sz="1200" b="1" dirty="0" smtClean="0">
                <a:solidFill>
                  <a:srgbClr val="0070C0"/>
                </a:solidFill>
                <a:latin typeface="Georgia" panose="02040502050405020303" pitchFamily="18" charset="0"/>
              </a:rPr>
              <a:t>COUNTIF</a:t>
            </a:r>
            <a:r>
              <a:rPr lang="en-US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(</a:t>
            </a:r>
            <a:r>
              <a:rPr lang="en-US" sz="1200" dirty="0" smtClean="0">
                <a:solidFill>
                  <a:srgbClr val="FF0066"/>
                </a:solidFill>
                <a:latin typeface="Georgia" panose="02040502050405020303" pitchFamily="18" charset="0"/>
              </a:rPr>
              <a:t>range</a:t>
            </a:r>
            <a:r>
              <a:rPr lang="en-US" sz="1200" dirty="0">
                <a:solidFill>
                  <a:srgbClr val="FF0066"/>
                </a:solidFill>
                <a:latin typeface="Georgia" panose="02040502050405020303" pitchFamily="18" charset="0"/>
              </a:rPr>
              <a:t>, </a:t>
            </a:r>
            <a:r>
              <a:rPr lang="en-US" sz="1200" dirty="0">
                <a:solidFill>
                  <a:schemeClr val="accent1"/>
                </a:solidFill>
                <a:latin typeface="Georgia" panose="02040502050405020303" pitchFamily="18" charset="0"/>
              </a:rPr>
              <a:t>criteria</a:t>
            </a: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)</a:t>
            </a:r>
          </a:p>
          <a:p>
            <a:pPr>
              <a:spcAft>
                <a:spcPts val="300"/>
              </a:spcAft>
            </a:pPr>
            <a:r>
              <a:rPr lang="en-US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=</a:t>
            </a:r>
            <a:r>
              <a:rPr lang="en-US" sz="1200" b="1" dirty="0" smtClean="0">
                <a:solidFill>
                  <a:srgbClr val="0070C0"/>
                </a:solidFill>
                <a:latin typeface="Georgia" panose="02040502050405020303" pitchFamily="18" charset="0"/>
              </a:rPr>
              <a:t>COUNTIFS</a:t>
            </a:r>
            <a:r>
              <a:rPr lang="en-US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(</a:t>
            </a:r>
            <a:r>
              <a:rPr lang="en-US" sz="1200" dirty="0" smtClean="0">
                <a:solidFill>
                  <a:srgbClr val="FF0066"/>
                </a:solidFill>
                <a:latin typeface="Georgia" panose="02040502050405020303" pitchFamily="18" charset="0"/>
              </a:rPr>
              <a:t>criteria_range1</a:t>
            </a:r>
            <a:r>
              <a:rPr lang="en-US" sz="1200" dirty="0">
                <a:solidFill>
                  <a:srgbClr val="FF0066"/>
                </a:solidFill>
                <a:latin typeface="Georgia" panose="02040502050405020303" pitchFamily="18" charset="0"/>
              </a:rPr>
              <a:t>,</a:t>
            </a:r>
            <a:r>
              <a:rPr lang="en-US" sz="1200" dirty="0">
                <a:solidFill>
                  <a:srgbClr val="968C6D"/>
                </a:solidFill>
                <a:latin typeface="Georgia" panose="02040502050405020303" pitchFamily="18" charset="0"/>
              </a:rPr>
              <a:t> </a:t>
            </a:r>
            <a:r>
              <a:rPr lang="en-US" sz="1200" dirty="0">
                <a:solidFill>
                  <a:schemeClr val="accent1"/>
                </a:solidFill>
                <a:latin typeface="Georgia" panose="02040502050405020303" pitchFamily="18" charset="0"/>
              </a:rPr>
              <a:t>critera1,</a:t>
            </a: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 [</a:t>
            </a:r>
            <a:r>
              <a:rPr lang="en-US" sz="1200" dirty="0">
                <a:solidFill>
                  <a:srgbClr val="FF0066"/>
                </a:solidFill>
                <a:latin typeface="Georgia" panose="02040502050405020303" pitchFamily="18" charset="0"/>
              </a:rPr>
              <a:t>criteria_range2, </a:t>
            </a:r>
            <a:r>
              <a:rPr lang="en-US" sz="1200" dirty="0">
                <a:solidFill>
                  <a:schemeClr val="bg2"/>
                </a:solidFill>
                <a:latin typeface="Georgia" panose="02040502050405020303" pitchFamily="18" charset="0"/>
              </a:rPr>
              <a:t>criteria2</a:t>
            </a: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],..)</a:t>
            </a:r>
          </a:p>
        </p:txBody>
      </p:sp>
      <p:sp>
        <p:nvSpPr>
          <p:cNvPr id="30" name="Oval 29"/>
          <p:cNvSpPr/>
          <p:nvPr/>
        </p:nvSpPr>
        <p:spPr bwMode="ltGray">
          <a:xfrm>
            <a:off x="7302517" y="986066"/>
            <a:ext cx="137160" cy="137160"/>
          </a:xfrm>
          <a:prstGeom prst="ellipse">
            <a:avLst/>
          </a:prstGeom>
          <a:solidFill>
            <a:srgbClr val="006A51"/>
          </a:solidFill>
          <a:ln w="3175">
            <a:noFill/>
          </a:ln>
          <a:effectLst>
            <a:outerShdw algn="tl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73152" rtlCol="0" anchor="ctr"/>
          <a:lstStyle/>
          <a:p>
            <a:pPr algn="ctr"/>
            <a:r>
              <a:rPr lang="en-US" sz="800" dirty="0">
                <a:solidFill>
                  <a:schemeClr val="bg1"/>
                </a:solidFill>
                <a:latin typeface="Georgia" pitchFamily="18" charset="0"/>
              </a:rPr>
              <a:t>1</a:t>
            </a:r>
          </a:p>
        </p:txBody>
      </p:sp>
      <p:sp>
        <p:nvSpPr>
          <p:cNvPr id="49" name="Oval 48"/>
          <p:cNvSpPr/>
          <p:nvPr/>
        </p:nvSpPr>
        <p:spPr bwMode="ltGray">
          <a:xfrm>
            <a:off x="6345444" y="1585125"/>
            <a:ext cx="137160" cy="137160"/>
          </a:xfrm>
          <a:prstGeom prst="ellipse">
            <a:avLst/>
          </a:prstGeom>
          <a:solidFill>
            <a:srgbClr val="006A51"/>
          </a:solidFill>
          <a:ln w="3175">
            <a:noFill/>
          </a:ln>
          <a:effectLst>
            <a:outerShdw algn="tl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bIns="73152" rtlCol="0" anchor="ctr"/>
          <a:lstStyle/>
          <a:p>
            <a:pPr algn="ctr"/>
            <a:r>
              <a:rPr lang="en-US" sz="800" dirty="0" smtClean="0">
                <a:solidFill>
                  <a:schemeClr val="bg1"/>
                </a:solidFill>
                <a:latin typeface="Georgia" pitchFamily="18" charset="0"/>
              </a:rPr>
              <a:t>2</a:t>
            </a:r>
            <a:endParaRPr lang="en-US" sz="800" dirty="0">
              <a:solidFill>
                <a:schemeClr val="bg1"/>
              </a:solidFill>
              <a:latin typeface="Georgia" pitchFamily="18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251225" y="4851168"/>
            <a:ext cx="2983018" cy="137160"/>
            <a:chOff x="270279" y="4851168"/>
            <a:chExt cx="2983018" cy="137160"/>
          </a:xfrm>
        </p:grpSpPr>
        <p:sp>
          <p:nvSpPr>
            <p:cNvPr id="51" name="TextBox 50"/>
            <p:cNvSpPr txBox="1"/>
            <p:nvPr/>
          </p:nvSpPr>
          <p:spPr>
            <a:xfrm>
              <a:off x="548745" y="4858193"/>
              <a:ext cx="2704552" cy="123111"/>
            </a:xfrm>
            <a:prstGeom prst="rect">
              <a:avLst/>
            </a:prstGeom>
            <a:noFill/>
            <a:effectLst/>
          </p:spPr>
          <p:txBody>
            <a:bodyPr wrap="square" lIns="0" tIns="0" rIns="0" bIns="0" rtlCol="0" anchor="t">
              <a:spAutoFit/>
            </a:bodyPr>
            <a:lstStyle/>
            <a:p>
              <a:pPr indent="-205740">
                <a:spcAft>
                  <a:spcPts val="675"/>
                </a:spcAft>
              </a:pPr>
              <a:r>
                <a:rPr lang="en-US" sz="800" dirty="0">
                  <a:latin typeface="Georgia" pitchFamily="18" charset="0"/>
                </a:rPr>
                <a:t>Numbered for Multiple Criteria Functions</a:t>
              </a:r>
            </a:p>
          </p:txBody>
        </p:sp>
        <p:sp>
          <p:nvSpPr>
            <p:cNvPr id="52" name="Oval 51"/>
            <p:cNvSpPr/>
            <p:nvPr/>
          </p:nvSpPr>
          <p:spPr bwMode="ltGray">
            <a:xfrm>
              <a:off x="270279" y="4851168"/>
              <a:ext cx="137160" cy="137160"/>
            </a:xfrm>
            <a:prstGeom prst="ellipse">
              <a:avLst/>
            </a:prstGeom>
            <a:solidFill>
              <a:srgbClr val="006A51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dirty="0">
                <a:solidFill>
                  <a:srgbClr val="000000"/>
                </a:solidFill>
                <a:latin typeface="Georgia" pitchFamily="18" charset="0"/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4741786" y="4839950"/>
            <a:ext cx="3620198" cy="124245"/>
            <a:chOff x="4741786" y="4839950"/>
            <a:chExt cx="3620198" cy="124245"/>
          </a:xfrm>
        </p:grpSpPr>
        <p:grpSp>
          <p:nvGrpSpPr>
            <p:cNvPr id="57" name="Group 56"/>
            <p:cNvGrpSpPr/>
            <p:nvPr/>
          </p:nvGrpSpPr>
          <p:grpSpPr>
            <a:xfrm>
              <a:off x="4741786" y="4839950"/>
              <a:ext cx="749501" cy="124245"/>
              <a:chOff x="4744137" y="4807866"/>
              <a:chExt cx="749501" cy="124245"/>
            </a:xfrm>
          </p:grpSpPr>
          <p:sp>
            <p:nvSpPr>
              <p:cNvPr id="67" name="Content Placeholder 2"/>
              <p:cNvSpPr txBox="1">
                <a:spLocks/>
              </p:cNvSpPr>
              <p:nvPr/>
            </p:nvSpPr>
            <p:spPr>
              <a:xfrm>
                <a:off x="4744137" y="4807866"/>
                <a:ext cx="289063" cy="124245"/>
              </a:xfrm>
              <a:prstGeom prst="rect">
                <a:avLst/>
              </a:prstGeom>
              <a:solidFill>
                <a:srgbClr val="0070C0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TextBox 67"/>
              <p:cNvSpPr txBox="1"/>
              <p:nvPr/>
            </p:nvSpPr>
            <p:spPr>
              <a:xfrm>
                <a:off x="5083269" y="4808433"/>
                <a:ext cx="41036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Function</a:t>
                </a:r>
              </a:p>
            </p:txBody>
          </p:sp>
        </p:grpSp>
        <p:grpSp>
          <p:nvGrpSpPr>
            <p:cNvPr id="58" name="Group 57"/>
            <p:cNvGrpSpPr/>
            <p:nvPr/>
          </p:nvGrpSpPr>
          <p:grpSpPr>
            <a:xfrm>
              <a:off x="5797223" y="4839950"/>
              <a:ext cx="685381" cy="124245"/>
              <a:chOff x="5639959" y="4807866"/>
              <a:chExt cx="685381" cy="124245"/>
            </a:xfrm>
          </p:grpSpPr>
          <p:sp>
            <p:nvSpPr>
              <p:cNvPr id="65" name="Content Placeholder 2"/>
              <p:cNvSpPr txBox="1">
                <a:spLocks/>
              </p:cNvSpPr>
              <p:nvPr/>
            </p:nvSpPr>
            <p:spPr>
              <a:xfrm>
                <a:off x="5639959" y="4807866"/>
                <a:ext cx="289063" cy="124245"/>
              </a:xfrm>
              <a:prstGeom prst="rect">
                <a:avLst/>
              </a:prstGeom>
              <a:solidFill>
                <a:schemeClr val="accent1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b="1" i="1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TextBox 65"/>
              <p:cNvSpPr txBox="1"/>
              <p:nvPr/>
            </p:nvSpPr>
            <p:spPr>
              <a:xfrm>
                <a:off x="5979091" y="4808433"/>
                <a:ext cx="34624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 smtClean="0">
                    <a:latin typeface="Georgia" pitchFamily="18" charset="0"/>
                  </a:rPr>
                  <a:t>Criteria</a:t>
                </a:r>
                <a:endParaRPr lang="en-US" sz="800" dirty="0">
                  <a:latin typeface="Georgia" pitchFamily="18" charset="0"/>
                </a:endParaRPr>
              </a:p>
            </p:txBody>
          </p:sp>
        </p:grpSp>
        <p:grpSp>
          <p:nvGrpSpPr>
            <p:cNvPr id="59" name="Group 58"/>
            <p:cNvGrpSpPr/>
            <p:nvPr/>
          </p:nvGrpSpPr>
          <p:grpSpPr>
            <a:xfrm>
              <a:off x="6788540" y="4839950"/>
              <a:ext cx="1573444" cy="124245"/>
              <a:chOff x="6750583" y="4807866"/>
              <a:chExt cx="1573444" cy="124245"/>
            </a:xfrm>
          </p:grpSpPr>
          <p:sp>
            <p:nvSpPr>
              <p:cNvPr id="63" name="Content Placeholder 2"/>
              <p:cNvSpPr txBox="1">
                <a:spLocks/>
              </p:cNvSpPr>
              <p:nvPr/>
            </p:nvSpPr>
            <p:spPr>
              <a:xfrm>
                <a:off x="6750583" y="4807866"/>
                <a:ext cx="289063" cy="124245"/>
              </a:xfrm>
              <a:prstGeom prst="rect">
                <a:avLst/>
              </a:prstGeom>
              <a:solidFill>
                <a:srgbClr val="FF0066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FF0066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b="1" i="1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TextBox 63"/>
              <p:cNvSpPr txBox="1"/>
              <p:nvPr/>
            </p:nvSpPr>
            <p:spPr>
              <a:xfrm>
                <a:off x="7089715" y="4808433"/>
                <a:ext cx="1234312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 smtClean="0">
                    <a:latin typeface="Georgia" pitchFamily="18" charset="0"/>
                  </a:rPr>
                  <a:t>Range to test using Criteria</a:t>
                </a:r>
                <a:endParaRPr lang="en-US" sz="800" dirty="0">
                  <a:latin typeface="Georgia" pitchFamily="18" charset="0"/>
                </a:endParaRP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2686577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 bwMode="ltGray">
          <a:xfrm>
            <a:off x="4741786" y="614362"/>
            <a:ext cx="4135514" cy="1957388"/>
          </a:xfrm>
          <a:prstGeom prst="rect">
            <a:avLst/>
          </a:prstGeom>
          <a:solidFill>
            <a:schemeClr val="tx2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72" name="Parallelogram 71"/>
          <p:cNvSpPr/>
          <p:nvPr/>
        </p:nvSpPr>
        <p:spPr bwMode="ltGray">
          <a:xfrm flipH="1">
            <a:off x="-5832" y="0"/>
            <a:ext cx="3712801" cy="5143500"/>
          </a:xfrm>
          <a:prstGeom prst="parallelogram">
            <a:avLst>
              <a:gd name="adj" fmla="val 77827"/>
            </a:avLst>
          </a:prstGeom>
          <a:solidFill>
            <a:srgbClr val="D5D1C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2" name="Rectangle 31"/>
          <p:cNvSpPr/>
          <p:nvPr/>
        </p:nvSpPr>
        <p:spPr bwMode="ltGray">
          <a:xfrm>
            <a:off x="251225" y="2866092"/>
            <a:ext cx="4255644" cy="1926763"/>
          </a:xfrm>
          <a:prstGeom prst="rect">
            <a:avLst/>
          </a:prstGeom>
          <a:solidFill>
            <a:srgbClr val="EB8C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69" name="Title 1"/>
          <p:cNvSpPr>
            <a:spLocks noGrp="1"/>
          </p:cNvSpPr>
          <p:nvPr>
            <p:ph type="title"/>
          </p:nvPr>
        </p:nvSpPr>
        <p:spPr>
          <a:xfrm>
            <a:off x="1178327" y="111849"/>
            <a:ext cx="7680410" cy="404406"/>
          </a:xfrm>
        </p:spPr>
        <p:txBody>
          <a:bodyPr/>
          <a:lstStyle/>
          <a:p>
            <a:r>
              <a:rPr lang="en-US" dirty="0"/>
              <a:t>Logical functions– SUMIF/SUMIFS function</a:t>
            </a:r>
            <a:endParaRPr lang="en-GB" b="0" i="0" dirty="0" smtClean="0"/>
          </a:p>
        </p:txBody>
      </p:sp>
      <p:sp>
        <p:nvSpPr>
          <p:cNvPr id="86" name="Rectangle 85"/>
          <p:cNvSpPr/>
          <p:nvPr/>
        </p:nvSpPr>
        <p:spPr bwMode="ltGray">
          <a:xfrm>
            <a:off x="251225" y="628104"/>
            <a:ext cx="4255644" cy="1943646"/>
          </a:xfrm>
          <a:prstGeom prst="rect">
            <a:avLst/>
          </a:prstGeom>
          <a:solidFill>
            <a:schemeClr val="accent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90" name="Rectangle 89"/>
          <p:cNvSpPr/>
          <p:nvPr/>
        </p:nvSpPr>
        <p:spPr bwMode="ltGray">
          <a:xfrm>
            <a:off x="4741786" y="2855610"/>
            <a:ext cx="4145039" cy="1925940"/>
          </a:xfrm>
          <a:prstGeom prst="rect">
            <a:avLst/>
          </a:prstGeom>
          <a:solidFill>
            <a:schemeClr val="accent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415925" y="963128"/>
            <a:ext cx="4022915" cy="92333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SUMIF allows you to sum a range based on a specific variable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SUMIFS Statements are mathematical functions that </a:t>
            </a: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>allows </a:t>
            </a: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you to </a:t>
            </a: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>sum </a:t>
            </a: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a range based on a single or multiple </a:t>
            </a: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>variables</a:t>
            </a:r>
            <a:endParaRPr lang="en-US" sz="1200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4956906" y="3302803"/>
            <a:ext cx="3840480" cy="136960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When sum_range is omitted, the cells in range will be summed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Text criteria, or criteria that includes math symbols, must be enclosed in double quotation marks </a:t>
            </a: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>“”</a:t>
            </a:r>
            <a:endParaRPr lang="en-US" sz="1200" dirty="0">
              <a:solidFill>
                <a:schemeClr val="bg1"/>
              </a:solidFill>
              <a:latin typeface="Georgia" pitchFamily="18" charset="0"/>
            </a:endParaRP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The wildcard characters “?” and “*” can be used in criteria. “?” matches any one character and “*” matches any sequence </a:t>
            </a: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>of characters</a:t>
            </a:r>
            <a:endParaRPr lang="en-US" sz="1200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415925" y="3302803"/>
            <a:ext cx="4023360" cy="81560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Sum the values of cells in a range:</a:t>
            </a:r>
          </a:p>
          <a:p>
            <a:pPr marL="274320" indent="-137160">
              <a:spcAft>
                <a:spcPts val="300"/>
              </a:spcAft>
              <a:buFont typeface="Georgia" panose="02040502050405020303" pitchFamily="18" charset="0"/>
              <a:buChar char="-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That equal a string of text</a:t>
            </a:r>
          </a:p>
          <a:p>
            <a:pPr marL="274320" indent="-137160">
              <a:spcAft>
                <a:spcPts val="300"/>
              </a:spcAft>
              <a:buFont typeface="Georgia" panose="02040502050405020303" pitchFamily="18" charset="0"/>
              <a:buChar char="-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Less than, greater than or equal to the contents of a particular value or a </a:t>
            </a: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>cell that </a:t>
            </a: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are not empty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401585" y="658652"/>
            <a:ext cx="940895" cy="2383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900"/>
              </a:spcAft>
            </a:pPr>
            <a:r>
              <a:rPr lang="en-GB" b="1" i="1" dirty="0" smtClean="0">
                <a:solidFill>
                  <a:schemeClr val="bg1"/>
                </a:solidFill>
                <a:latin typeface="Georgia" pitchFamily="18" charset="0"/>
              </a:rPr>
              <a:t>Overview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4937376" y="648119"/>
            <a:ext cx="940895" cy="2383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Syntax</a:t>
            </a:r>
            <a:endParaRPr lang="en-GB" b="1" i="1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907130" y="2937365"/>
            <a:ext cx="2550742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Tips </a:t>
            </a:r>
            <a:r>
              <a:rPr lang="en-GB" b="1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nd Tricks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415925" y="2988994"/>
            <a:ext cx="2651530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Uses </a:t>
            </a:r>
            <a:r>
              <a:rPr lang="en-GB" b="1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nd Applications</a:t>
            </a:r>
          </a:p>
        </p:txBody>
      </p:sp>
      <p:sp>
        <p:nvSpPr>
          <p:cNvPr id="23" name="Freeform 201"/>
          <p:cNvSpPr>
            <a:spLocks noEditPoints="1"/>
          </p:cNvSpPr>
          <p:nvPr/>
        </p:nvSpPr>
        <p:spPr bwMode="auto">
          <a:xfrm>
            <a:off x="4040650" y="2222127"/>
            <a:ext cx="398190" cy="283985"/>
          </a:xfrm>
          <a:custGeom>
            <a:avLst/>
            <a:gdLst>
              <a:gd name="T0" fmla="*/ 67 w 812"/>
              <a:gd name="T1" fmla="*/ 0 h 576"/>
              <a:gd name="T2" fmla="*/ 30 w 812"/>
              <a:gd name="T3" fmla="*/ 12 h 576"/>
              <a:gd name="T4" fmla="*/ 5 w 812"/>
              <a:gd name="T5" fmla="*/ 43 h 576"/>
              <a:gd name="T6" fmla="*/ 0 w 812"/>
              <a:gd name="T7" fmla="*/ 390 h 576"/>
              <a:gd name="T8" fmla="*/ 5 w 812"/>
              <a:gd name="T9" fmla="*/ 416 h 576"/>
              <a:gd name="T10" fmla="*/ 30 w 812"/>
              <a:gd name="T11" fmla="*/ 446 h 576"/>
              <a:gd name="T12" fmla="*/ 67 w 812"/>
              <a:gd name="T13" fmla="*/ 457 h 576"/>
              <a:gd name="T14" fmla="*/ 101 w 812"/>
              <a:gd name="T15" fmla="*/ 509 h 576"/>
              <a:gd name="T16" fmla="*/ 473 w 812"/>
              <a:gd name="T17" fmla="*/ 509 h 576"/>
              <a:gd name="T18" fmla="*/ 507 w 812"/>
              <a:gd name="T19" fmla="*/ 457 h 576"/>
              <a:gd name="T20" fmla="*/ 534 w 812"/>
              <a:gd name="T21" fmla="*/ 452 h 576"/>
              <a:gd name="T22" fmla="*/ 564 w 812"/>
              <a:gd name="T23" fmla="*/ 428 h 576"/>
              <a:gd name="T24" fmla="*/ 575 w 812"/>
              <a:gd name="T25" fmla="*/ 390 h 576"/>
              <a:gd name="T26" fmla="*/ 574 w 812"/>
              <a:gd name="T27" fmla="*/ 55 h 576"/>
              <a:gd name="T28" fmla="*/ 555 w 812"/>
              <a:gd name="T29" fmla="*/ 21 h 576"/>
              <a:gd name="T30" fmla="*/ 522 w 812"/>
              <a:gd name="T31" fmla="*/ 2 h 576"/>
              <a:gd name="T32" fmla="*/ 507 w 812"/>
              <a:gd name="T33" fmla="*/ 373 h 576"/>
              <a:gd name="T34" fmla="*/ 502 w 812"/>
              <a:gd name="T35" fmla="*/ 385 h 576"/>
              <a:gd name="T36" fmla="*/ 84 w 812"/>
              <a:gd name="T37" fmla="*/ 390 h 576"/>
              <a:gd name="T38" fmla="*/ 72 w 812"/>
              <a:gd name="T39" fmla="*/ 385 h 576"/>
              <a:gd name="T40" fmla="*/ 67 w 812"/>
              <a:gd name="T41" fmla="*/ 85 h 576"/>
              <a:gd name="T42" fmla="*/ 72 w 812"/>
              <a:gd name="T43" fmla="*/ 74 h 576"/>
              <a:gd name="T44" fmla="*/ 490 w 812"/>
              <a:gd name="T45" fmla="*/ 68 h 576"/>
              <a:gd name="T46" fmla="*/ 502 w 812"/>
              <a:gd name="T47" fmla="*/ 74 h 576"/>
              <a:gd name="T48" fmla="*/ 507 w 812"/>
              <a:gd name="T49" fmla="*/ 373 h 576"/>
              <a:gd name="T50" fmla="*/ 643 w 812"/>
              <a:gd name="T51" fmla="*/ 0 h 576"/>
              <a:gd name="T52" fmla="*/ 624 w 812"/>
              <a:gd name="T53" fmla="*/ 6 h 576"/>
              <a:gd name="T54" fmla="*/ 612 w 812"/>
              <a:gd name="T55" fmla="*/ 21 h 576"/>
              <a:gd name="T56" fmla="*/ 610 w 812"/>
              <a:gd name="T57" fmla="*/ 543 h 576"/>
              <a:gd name="T58" fmla="*/ 612 w 812"/>
              <a:gd name="T59" fmla="*/ 556 h 576"/>
              <a:gd name="T60" fmla="*/ 624 w 812"/>
              <a:gd name="T61" fmla="*/ 570 h 576"/>
              <a:gd name="T62" fmla="*/ 643 w 812"/>
              <a:gd name="T63" fmla="*/ 576 h 576"/>
              <a:gd name="T64" fmla="*/ 786 w 812"/>
              <a:gd name="T65" fmla="*/ 575 h 576"/>
              <a:gd name="T66" fmla="*/ 802 w 812"/>
              <a:gd name="T67" fmla="*/ 566 h 576"/>
              <a:gd name="T68" fmla="*/ 811 w 812"/>
              <a:gd name="T69" fmla="*/ 549 h 576"/>
              <a:gd name="T70" fmla="*/ 812 w 812"/>
              <a:gd name="T71" fmla="*/ 34 h 576"/>
              <a:gd name="T72" fmla="*/ 806 w 812"/>
              <a:gd name="T73" fmla="*/ 16 h 576"/>
              <a:gd name="T74" fmla="*/ 792 w 812"/>
              <a:gd name="T75" fmla="*/ 3 h 576"/>
              <a:gd name="T76" fmla="*/ 778 w 812"/>
              <a:gd name="T77" fmla="*/ 0 h 576"/>
              <a:gd name="T78" fmla="*/ 702 w 812"/>
              <a:gd name="T79" fmla="*/ 444 h 576"/>
              <a:gd name="T80" fmla="*/ 683 w 812"/>
              <a:gd name="T81" fmla="*/ 434 h 576"/>
              <a:gd name="T82" fmla="*/ 674 w 812"/>
              <a:gd name="T83" fmla="*/ 415 h 576"/>
              <a:gd name="T84" fmla="*/ 674 w 812"/>
              <a:gd name="T85" fmla="*/ 399 h 576"/>
              <a:gd name="T86" fmla="*/ 683 w 812"/>
              <a:gd name="T87" fmla="*/ 380 h 576"/>
              <a:gd name="T88" fmla="*/ 702 w 812"/>
              <a:gd name="T89" fmla="*/ 369 h 576"/>
              <a:gd name="T90" fmla="*/ 718 w 812"/>
              <a:gd name="T91" fmla="*/ 369 h 576"/>
              <a:gd name="T92" fmla="*/ 737 w 812"/>
              <a:gd name="T93" fmla="*/ 380 h 576"/>
              <a:gd name="T94" fmla="*/ 748 w 812"/>
              <a:gd name="T95" fmla="*/ 399 h 576"/>
              <a:gd name="T96" fmla="*/ 748 w 812"/>
              <a:gd name="T97" fmla="*/ 415 h 576"/>
              <a:gd name="T98" fmla="*/ 737 w 812"/>
              <a:gd name="T99" fmla="*/ 434 h 576"/>
              <a:gd name="T100" fmla="*/ 718 w 812"/>
              <a:gd name="T101" fmla="*/ 444 h 576"/>
              <a:gd name="T102" fmla="*/ 765 w 812"/>
              <a:gd name="T103" fmla="*/ 103 h 576"/>
              <a:gd name="T104" fmla="*/ 653 w 812"/>
              <a:gd name="T105" fmla="*/ 103 h 576"/>
              <a:gd name="T106" fmla="*/ 640 w 812"/>
              <a:gd name="T107" fmla="*/ 92 h 576"/>
              <a:gd name="T108" fmla="*/ 639 w 812"/>
              <a:gd name="T109" fmla="*/ 85 h 576"/>
              <a:gd name="T110" fmla="*/ 643 w 812"/>
              <a:gd name="T111" fmla="*/ 73 h 576"/>
              <a:gd name="T112" fmla="*/ 657 w 812"/>
              <a:gd name="T113" fmla="*/ 68 h 576"/>
              <a:gd name="T114" fmla="*/ 769 w 812"/>
              <a:gd name="T115" fmla="*/ 68 h 576"/>
              <a:gd name="T116" fmla="*/ 781 w 812"/>
              <a:gd name="T117" fmla="*/ 79 h 576"/>
              <a:gd name="T118" fmla="*/ 782 w 812"/>
              <a:gd name="T119" fmla="*/ 85 h 576"/>
              <a:gd name="T120" fmla="*/ 777 w 812"/>
              <a:gd name="T121" fmla="*/ 98 h 576"/>
              <a:gd name="T122" fmla="*/ 765 w 812"/>
              <a:gd name="T123" fmla="*/ 103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12" h="576">
                <a:moveTo>
                  <a:pt x="507" y="0"/>
                </a:moveTo>
                <a:lnTo>
                  <a:pt x="67" y="0"/>
                </a:lnTo>
                <a:lnTo>
                  <a:pt x="67" y="0"/>
                </a:lnTo>
                <a:lnTo>
                  <a:pt x="54" y="2"/>
                </a:lnTo>
                <a:lnTo>
                  <a:pt x="41" y="6"/>
                </a:lnTo>
                <a:lnTo>
                  <a:pt x="30" y="12"/>
                </a:lnTo>
                <a:lnTo>
                  <a:pt x="19" y="21"/>
                </a:lnTo>
                <a:lnTo>
                  <a:pt x="12" y="31"/>
                </a:lnTo>
                <a:lnTo>
                  <a:pt x="5" y="43"/>
                </a:lnTo>
                <a:lnTo>
                  <a:pt x="1" y="55"/>
                </a:lnTo>
                <a:lnTo>
                  <a:pt x="0" y="68"/>
                </a:lnTo>
                <a:lnTo>
                  <a:pt x="0" y="390"/>
                </a:lnTo>
                <a:lnTo>
                  <a:pt x="0" y="390"/>
                </a:lnTo>
                <a:lnTo>
                  <a:pt x="1" y="404"/>
                </a:lnTo>
                <a:lnTo>
                  <a:pt x="5" y="416"/>
                </a:lnTo>
                <a:lnTo>
                  <a:pt x="12" y="428"/>
                </a:lnTo>
                <a:lnTo>
                  <a:pt x="19" y="438"/>
                </a:lnTo>
                <a:lnTo>
                  <a:pt x="30" y="446"/>
                </a:lnTo>
                <a:lnTo>
                  <a:pt x="41" y="452"/>
                </a:lnTo>
                <a:lnTo>
                  <a:pt x="54" y="456"/>
                </a:lnTo>
                <a:lnTo>
                  <a:pt x="67" y="457"/>
                </a:lnTo>
                <a:lnTo>
                  <a:pt x="237" y="457"/>
                </a:lnTo>
                <a:lnTo>
                  <a:pt x="237" y="509"/>
                </a:lnTo>
                <a:lnTo>
                  <a:pt x="101" y="509"/>
                </a:lnTo>
                <a:lnTo>
                  <a:pt x="101" y="576"/>
                </a:lnTo>
                <a:lnTo>
                  <a:pt x="473" y="576"/>
                </a:lnTo>
                <a:lnTo>
                  <a:pt x="473" y="509"/>
                </a:lnTo>
                <a:lnTo>
                  <a:pt x="339" y="509"/>
                </a:lnTo>
                <a:lnTo>
                  <a:pt x="339" y="457"/>
                </a:lnTo>
                <a:lnTo>
                  <a:pt x="507" y="457"/>
                </a:lnTo>
                <a:lnTo>
                  <a:pt x="507" y="457"/>
                </a:lnTo>
                <a:lnTo>
                  <a:pt x="522" y="456"/>
                </a:lnTo>
                <a:lnTo>
                  <a:pt x="534" y="452"/>
                </a:lnTo>
                <a:lnTo>
                  <a:pt x="546" y="446"/>
                </a:lnTo>
                <a:lnTo>
                  <a:pt x="555" y="438"/>
                </a:lnTo>
                <a:lnTo>
                  <a:pt x="564" y="428"/>
                </a:lnTo>
                <a:lnTo>
                  <a:pt x="570" y="416"/>
                </a:lnTo>
                <a:lnTo>
                  <a:pt x="574" y="404"/>
                </a:lnTo>
                <a:lnTo>
                  <a:pt x="575" y="390"/>
                </a:lnTo>
                <a:lnTo>
                  <a:pt x="575" y="68"/>
                </a:lnTo>
                <a:lnTo>
                  <a:pt x="575" y="68"/>
                </a:lnTo>
                <a:lnTo>
                  <a:pt x="574" y="55"/>
                </a:lnTo>
                <a:lnTo>
                  <a:pt x="570" y="43"/>
                </a:lnTo>
                <a:lnTo>
                  <a:pt x="564" y="31"/>
                </a:lnTo>
                <a:lnTo>
                  <a:pt x="555" y="21"/>
                </a:lnTo>
                <a:lnTo>
                  <a:pt x="546" y="12"/>
                </a:lnTo>
                <a:lnTo>
                  <a:pt x="534" y="6"/>
                </a:lnTo>
                <a:lnTo>
                  <a:pt x="522" y="2"/>
                </a:lnTo>
                <a:lnTo>
                  <a:pt x="507" y="0"/>
                </a:lnTo>
                <a:lnTo>
                  <a:pt x="507" y="0"/>
                </a:lnTo>
                <a:close/>
                <a:moveTo>
                  <a:pt x="507" y="373"/>
                </a:moveTo>
                <a:lnTo>
                  <a:pt x="507" y="373"/>
                </a:lnTo>
                <a:lnTo>
                  <a:pt x="506" y="380"/>
                </a:lnTo>
                <a:lnTo>
                  <a:pt x="502" y="385"/>
                </a:lnTo>
                <a:lnTo>
                  <a:pt x="498" y="388"/>
                </a:lnTo>
                <a:lnTo>
                  <a:pt x="490" y="390"/>
                </a:lnTo>
                <a:lnTo>
                  <a:pt x="84" y="390"/>
                </a:lnTo>
                <a:lnTo>
                  <a:pt x="84" y="390"/>
                </a:lnTo>
                <a:lnTo>
                  <a:pt x="78" y="388"/>
                </a:lnTo>
                <a:lnTo>
                  <a:pt x="72" y="385"/>
                </a:lnTo>
                <a:lnTo>
                  <a:pt x="69" y="380"/>
                </a:lnTo>
                <a:lnTo>
                  <a:pt x="67" y="373"/>
                </a:lnTo>
                <a:lnTo>
                  <a:pt x="67" y="85"/>
                </a:lnTo>
                <a:lnTo>
                  <a:pt x="67" y="85"/>
                </a:lnTo>
                <a:lnTo>
                  <a:pt x="69" y="79"/>
                </a:lnTo>
                <a:lnTo>
                  <a:pt x="72" y="74"/>
                </a:lnTo>
                <a:lnTo>
                  <a:pt x="78" y="70"/>
                </a:lnTo>
                <a:lnTo>
                  <a:pt x="84" y="68"/>
                </a:lnTo>
                <a:lnTo>
                  <a:pt x="490" y="68"/>
                </a:lnTo>
                <a:lnTo>
                  <a:pt x="490" y="68"/>
                </a:lnTo>
                <a:lnTo>
                  <a:pt x="498" y="70"/>
                </a:lnTo>
                <a:lnTo>
                  <a:pt x="502" y="74"/>
                </a:lnTo>
                <a:lnTo>
                  <a:pt x="506" y="79"/>
                </a:lnTo>
                <a:lnTo>
                  <a:pt x="507" y="85"/>
                </a:lnTo>
                <a:lnTo>
                  <a:pt x="507" y="373"/>
                </a:lnTo>
                <a:close/>
                <a:moveTo>
                  <a:pt x="778" y="0"/>
                </a:moveTo>
                <a:lnTo>
                  <a:pt x="643" y="0"/>
                </a:lnTo>
                <a:lnTo>
                  <a:pt x="643" y="0"/>
                </a:lnTo>
                <a:lnTo>
                  <a:pt x="636" y="2"/>
                </a:lnTo>
                <a:lnTo>
                  <a:pt x="630" y="3"/>
                </a:lnTo>
                <a:lnTo>
                  <a:pt x="624" y="6"/>
                </a:lnTo>
                <a:lnTo>
                  <a:pt x="619" y="11"/>
                </a:lnTo>
                <a:lnTo>
                  <a:pt x="614" y="16"/>
                </a:lnTo>
                <a:lnTo>
                  <a:pt x="612" y="21"/>
                </a:lnTo>
                <a:lnTo>
                  <a:pt x="610" y="28"/>
                </a:lnTo>
                <a:lnTo>
                  <a:pt x="610" y="34"/>
                </a:lnTo>
                <a:lnTo>
                  <a:pt x="610" y="543"/>
                </a:lnTo>
                <a:lnTo>
                  <a:pt x="610" y="543"/>
                </a:lnTo>
                <a:lnTo>
                  <a:pt x="610" y="549"/>
                </a:lnTo>
                <a:lnTo>
                  <a:pt x="612" y="556"/>
                </a:lnTo>
                <a:lnTo>
                  <a:pt x="614" y="561"/>
                </a:lnTo>
                <a:lnTo>
                  <a:pt x="619" y="566"/>
                </a:lnTo>
                <a:lnTo>
                  <a:pt x="624" y="570"/>
                </a:lnTo>
                <a:lnTo>
                  <a:pt x="630" y="574"/>
                </a:lnTo>
                <a:lnTo>
                  <a:pt x="636" y="575"/>
                </a:lnTo>
                <a:lnTo>
                  <a:pt x="643" y="576"/>
                </a:lnTo>
                <a:lnTo>
                  <a:pt x="778" y="576"/>
                </a:lnTo>
                <a:lnTo>
                  <a:pt x="778" y="576"/>
                </a:lnTo>
                <a:lnTo>
                  <a:pt x="786" y="575"/>
                </a:lnTo>
                <a:lnTo>
                  <a:pt x="792" y="574"/>
                </a:lnTo>
                <a:lnTo>
                  <a:pt x="798" y="570"/>
                </a:lnTo>
                <a:lnTo>
                  <a:pt x="802" y="566"/>
                </a:lnTo>
                <a:lnTo>
                  <a:pt x="806" y="561"/>
                </a:lnTo>
                <a:lnTo>
                  <a:pt x="810" y="556"/>
                </a:lnTo>
                <a:lnTo>
                  <a:pt x="811" y="549"/>
                </a:lnTo>
                <a:lnTo>
                  <a:pt x="812" y="543"/>
                </a:lnTo>
                <a:lnTo>
                  <a:pt x="812" y="34"/>
                </a:lnTo>
                <a:lnTo>
                  <a:pt x="812" y="34"/>
                </a:lnTo>
                <a:lnTo>
                  <a:pt x="811" y="28"/>
                </a:lnTo>
                <a:lnTo>
                  <a:pt x="810" y="21"/>
                </a:lnTo>
                <a:lnTo>
                  <a:pt x="806" y="16"/>
                </a:lnTo>
                <a:lnTo>
                  <a:pt x="802" y="11"/>
                </a:lnTo>
                <a:lnTo>
                  <a:pt x="798" y="6"/>
                </a:lnTo>
                <a:lnTo>
                  <a:pt x="792" y="3"/>
                </a:lnTo>
                <a:lnTo>
                  <a:pt x="786" y="2"/>
                </a:lnTo>
                <a:lnTo>
                  <a:pt x="778" y="0"/>
                </a:lnTo>
                <a:lnTo>
                  <a:pt x="778" y="0"/>
                </a:lnTo>
                <a:close/>
                <a:moveTo>
                  <a:pt x="711" y="445"/>
                </a:moveTo>
                <a:lnTo>
                  <a:pt x="711" y="445"/>
                </a:lnTo>
                <a:lnTo>
                  <a:pt x="702" y="444"/>
                </a:lnTo>
                <a:lnTo>
                  <a:pt x="695" y="441"/>
                </a:lnTo>
                <a:lnTo>
                  <a:pt x="689" y="438"/>
                </a:lnTo>
                <a:lnTo>
                  <a:pt x="683" y="434"/>
                </a:lnTo>
                <a:lnTo>
                  <a:pt x="680" y="428"/>
                </a:lnTo>
                <a:lnTo>
                  <a:pt x="676" y="422"/>
                </a:lnTo>
                <a:lnTo>
                  <a:pt x="674" y="415"/>
                </a:lnTo>
                <a:lnTo>
                  <a:pt x="672" y="406"/>
                </a:lnTo>
                <a:lnTo>
                  <a:pt x="672" y="406"/>
                </a:lnTo>
                <a:lnTo>
                  <a:pt x="674" y="399"/>
                </a:lnTo>
                <a:lnTo>
                  <a:pt x="676" y="392"/>
                </a:lnTo>
                <a:lnTo>
                  <a:pt x="680" y="386"/>
                </a:lnTo>
                <a:lnTo>
                  <a:pt x="683" y="380"/>
                </a:lnTo>
                <a:lnTo>
                  <a:pt x="689" y="375"/>
                </a:lnTo>
                <a:lnTo>
                  <a:pt x="695" y="372"/>
                </a:lnTo>
                <a:lnTo>
                  <a:pt x="702" y="369"/>
                </a:lnTo>
                <a:lnTo>
                  <a:pt x="711" y="369"/>
                </a:lnTo>
                <a:lnTo>
                  <a:pt x="711" y="369"/>
                </a:lnTo>
                <a:lnTo>
                  <a:pt x="718" y="369"/>
                </a:lnTo>
                <a:lnTo>
                  <a:pt x="725" y="372"/>
                </a:lnTo>
                <a:lnTo>
                  <a:pt x="731" y="375"/>
                </a:lnTo>
                <a:lnTo>
                  <a:pt x="737" y="380"/>
                </a:lnTo>
                <a:lnTo>
                  <a:pt x="742" y="386"/>
                </a:lnTo>
                <a:lnTo>
                  <a:pt x="746" y="392"/>
                </a:lnTo>
                <a:lnTo>
                  <a:pt x="748" y="399"/>
                </a:lnTo>
                <a:lnTo>
                  <a:pt x="748" y="406"/>
                </a:lnTo>
                <a:lnTo>
                  <a:pt x="748" y="406"/>
                </a:lnTo>
                <a:lnTo>
                  <a:pt x="748" y="415"/>
                </a:lnTo>
                <a:lnTo>
                  <a:pt x="746" y="422"/>
                </a:lnTo>
                <a:lnTo>
                  <a:pt x="742" y="428"/>
                </a:lnTo>
                <a:lnTo>
                  <a:pt x="737" y="434"/>
                </a:lnTo>
                <a:lnTo>
                  <a:pt x="731" y="438"/>
                </a:lnTo>
                <a:lnTo>
                  <a:pt x="725" y="441"/>
                </a:lnTo>
                <a:lnTo>
                  <a:pt x="718" y="444"/>
                </a:lnTo>
                <a:lnTo>
                  <a:pt x="711" y="445"/>
                </a:lnTo>
                <a:lnTo>
                  <a:pt x="711" y="445"/>
                </a:lnTo>
                <a:close/>
                <a:moveTo>
                  <a:pt x="765" y="103"/>
                </a:moveTo>
                <a:lnTo>
                  <a:pt x="657" y="103"/>
                </a:lnTo>
                <a:lnTo>
                  <a:pt x="657" y="103"/>
                </a:lnTo>
                <a:lnTo>
                  <a:pt x="653" y="103"/>
                </a:lnTo>
                <a:lnTo>
                  <a:pt x="649" y="102"/>
                </a:lnTo>
                <a:lnTo>
                  <a:pt x="643" y="98"/>
                </a:lnTo>
                <a:lnTo>
                  <a:pt x="640" y="92"/>
                </a:lnTo>
                <a:lnTo>
                  <a:pt x="639" y="90"/>
                </a:lnTo>
                <a:lnTo>
                  <a:pt x="639" y="85"/>
                </a:lnTo>
                <a:lnTo>
                  <a:pt x="639" y="85"/>
                </a:lnTo>
                <a:lnTo>
                  <a:pt x="639" y="81"/>
                </a:lnTo>
                <a:lnTo>
                  <a:pt x="640" y="79"/>
                </a:lnTo>
                <a:lnTo>
                  <a:pt x="643" y="73"/>
                </a:lnTo>
                <a:lnTo>
                  <a:pt x="649" y="69"/>
                </a:lnTo>
                <a:lnTo>
                  <a:pt x="653" y="68"/>
                </a:lnTo>
                <a:lnTo>
                  <a:pt x="657" y="68"/>
                </a:lnTo>
                <a:lnTo>
                  <a:pt x="765" y="68"/>
                </a:lnTo>
                <a:lnTo>
                  <a:pt x="765" y="68"/>
                </a:lnTo>
                <a:lnTo>
                  <a:pt x="769" y="68"/>
                </a:lnTo>
                <a:lnTo>
                  <a:pt x="771" y="69"/>
                </a:lnTo>
                <a:lnTo>
                  <a:pt x="777" y="73"/>
                </a:lnTo>
                <a:lnTo>
                  <a:pt x="781" y="79"/>
                </a:lnTo>
                <a:lnTo>
                  <a:pt x="782" y="81"/>
                </a:lnTo>
                <a:lnTo>
                  <a:pt x="782" y="85"/>
                </a:lnTo>
                <a:lnTo>
                  <a:pt x="782" y="85"/>
                </a:lnTo>
                <a:lnTo>
                  <a:pt x="782" y="90"/>
                </a:lnTo>
                <a:lnTo>
                  <a:pt x="781" y="92"/>
                </a:lnTo>
                <a:lnTo>
                  <a:pt x="777" y="98"/>
                </a:lnTo>
                <a:lnTo>
                  <a:pt x="771" y="102"/>
                </a:lnTo>
                <a:lnTo>
                  <a:pt x="769" y="103"/>
                </a:lnTo>
                <a:lnTo>
                  <a:pt x="765" y="103"/>
                </a:lnTo>
                <a:lnTo>
                  <a:pt x="765" y="10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24" name="Freeform 206"/>
          <p:cNvSpPr>
            <a:spLocks noEditPoints="1"/>
          </p:cNvSpPr>
          <p:nvPr/>
        </p:nvSpPr>
        <p:spPr bwMode="auto">
          <a:xfrm>
            <a:off x="8471626" y="2142256"/>
            <a:ext cx="356144" cy="363856"/>
          </a:xfrm>
          <a:custGeom>
            <a:avLst/>
            <a:gdLst>
              <a:gd name="T0" fmla="*/ 272 w 736"/>
              <a:gd name="T1" fmla="*/ 192 h 738"/>
              <a:gd name="T2" fmla="*/ 183 w 736"/>
              <a:gd name="T3" fmla="*/ 290 h 738"/>
              <a:gd name="T4" fmla="*/ 171 w 736"/>
              <a:gd name="T5" fmla="*/ 410 h 738"/>
              <a:gd name="T6" fmla="*/ 241 w 736"/>
              <a:gd name="T7" fmla="*/ 524 h 738"/>
              <a:gd name="T8" fmla="*/ 368 w 736"/>
              <a:gd name="T9" fmla="*/ 570 h 738"/>
              <a:gd name="T10" fmla="*/ 480 w 736"/>
              <a:gd name="T11" fmla="*/ 535 h 738"/>
              <a:gd name="T12" fmla="*/ 559 w 736"/>
              <a:gd name="T13" fmla="*/ 429 h 738"/>
              <a:gd name="T14" fmla="*/ 559 w 736"/>
              <a:gd name="T15" fmla="*/ 309 h 738"/>
              <a:gd name="T16" fmla="*/ 480 w 736"/>
              <a:gd name="T17" fmla="*/ 203 h 738"/>
              <a:gd name="T18" fmla="*/ 368 w 736"/>
              <a:gd name="T19" fmla="*/ 168 h 738"/>
              <a:gd name="T20" fmla="*/ 319 w 736"/>
              <a:gd name="T21" fmla="*/ 460 h 738"/>
              <a:gd name="T22" fmla="*/ 272 w 736"/>
              <a:gd name="T23" fmla="*/ 410 h 738"/>
              <a:gd name="T24" fmla="*/ 266 w 736"/>
              <a:gd name="T25" fmla="*/ 347 h 738"/>
              <a:gd name="T26" fmla="*/ 302 w 736"/>
              <a:gd name="T27" fmla="*/ 288 h 738"/>
              <a:gd name="T28" fmla="*/ 368 w 736"/>
              <a:gd name="T29" fmla="*/ 264 h 738"/>
              <a:gd name="T30" fmla="*/ 427 w 736"/>
              <a:gd name="T31" fmla="*/ 282 h 738"/>
              <a:gd name="T32" fmla="*/ 468 w 736"/>
              <a:gd name="T33" fmla="*/ 337 h 738"/>
              <a:gd name="T34" fmla="*/ 468 w 736"/>
              <a:gd name="T35" fmla="*/ 400 h 738"/>
              <a:gd name="T36" fmla="*/ 427 w 736"/>
              <a:gd name="T37" fmla="*/ 456 h 738"/>
              <a:gd name="T38" fmla="*/ 368 w 736"/>
              <a:gd name="T39" fmla="*/ 474 h 738"/>
              <a:gd name="T40" fmla="*/ 19 w 736"/>
              <a:gd name="T41" fmla="*/ 19 h 738"/>
              <a:gd name="T42" fmla="*/ 1 w 736"/>
              <a:gd name="T43" fmla="*/ 685 h 738"/>
              <a:gd name="T44" fmla="*/ 67 w 736"/>
              <a:gd name="T45" fmla="*/ 738 h 738"/>
              <a:gd name="T46" fmla="*/ 724 w 736"/>
              <a:gd name="T47" fmla="*/ 707 h 738"/>
              <a:gd name="T48" fmla="*/ 731 w 736"/>
              <a:gd name="T49" fmla="*/ 41 h 738"/>
              <a:gd name="T50" fmla="*/ 668 w 736"/>
              <a:gd name="T51" fmla="*/ 0 h 738"/>
              <a:gd name="T52" fmla="*/ 131 w 736"/>
              <a:gd name="T53" fmla="*/ 80 h 738"/>
              <a:gd name="T54" fmla="*/ 131 w 736"/>
              <a:gd name="T55" fmla="*/ 122 h 738"/>
              <a:gd name="T56" fmla="*/ 93 w 736"/>
              <a:gd name="T57" fmla="*/ 137 h 738"/>
              <a:gd name="T58" fmla="*/ 63 w 736"/>
              <a:gd name="T59" fmla="*/ 100 h 738"/>
              <a:gd name="T60" fmla="*/ 85 w 736"/>
              <a:gd name="T61" fmla="*/ 66 h 738"/>
              <a:gd name="T62" fmla="*/ 85 w 736"/>
              <a:gd name="T63" fmla="*/ 671 h 738"/>
              <a:gd name="T64" fmla="*/ 63 w 736"/>
              <a:gd name="T65" fmla="*/ 638 h 738"/>
              <a:gd name="T66" fmla="*/ 93 w 736"/>
              <a:gd name="T67" fmla="*/ 600 h 738"/>
              <a:gd name="T68" fmla="*/ 131 w 736"/>
              <a:gd name="T69" fmla="*/ 616 h 738"/>
              <a:gd name="T70" fmla="*/ 131 w 736"/>
              <a:gd name="T71" fmla="*/ 658 h 738"/>
              <a:gd name="T72" fmla="*/ 368 w 736"/>
              <a:gd name="T73" fmla="*/ 641 h 738"/>
              <a:gd name="T74" fmla="*/ 216 w 736"/>
              <a:gd name="T75" fmla="*/ 594 h 738"/>
              <a:gd name="T76" fmla="*/ 108 w 736"/>
              <a:gd name="T77" fmla="*/ 450 h 738"/>
              <a:gd name="T78" fmla="*/ 108 w 736"/>
              <a:gd name="T79" fmla="*/ 288 h 738"/>
              <a:gd name="T80" fmla="*/ 216 w 736"/>
              <a:gd name="T81" fmla="*/ 143 h 738"/>
              <a:gd name="T82" fmla="*/ 368 w 736"/>
              <a:gd name="T83" fmla="*/ 96 h 738"/>
              <a:gd name="T84" fmla="*/ 541 w 736"/>
              <a:gd name="T85" fmla="*/ 159 h 738"/>
              <a:gd name="T86" fmla="*/ 634 w 736"/>
              <a:gd name="T87" fmla="*/ 313 h 738"/>
              <a:gd name="T88" fmla="*/ 618 w 736"/>
              <a:gd name="T89" fmla="*/ 475 h 738"/>
              <a:gd name="T90" fmla="*/ 498 w 736"/>
              <a:gd name="T91" fmla="*/ 609 h 738"/>
              <a:gd name="T92" fmla="*/ 636 w 736"/>
              <a:gd name="T93" fmla="*/ 675 h 738"/>
              <a:gd name="T94" fmla="*/ 601 w 736"/>
              <a:gd name="T95" fmla="*/ 652 h 738"/>
              <a:gd name="T96" fmla="*/ 608 w 736"/>
              <a:gd name="T97" fmla="*/ 610 h 738"/>
              <a:gd name="T98" fmla="*/ 650 w 736"/>
              <a:gd name="T99" fmla="*/ 603 h 738"/>
              <a:gd name="T100" fmla="*/ 673 w 736"/>
              <a:gd name="T101" fmla="*/ 638 h 738"/>
              <a:gd name="T102" fmla="*/ 643 w 736"/>
              <a:gd name="T103" fmla="*/ 674 h 738"/>
              <a:gd name="T104" fmla="*/ 614 w 736"/>
              <a:gd name="T105" fmla="*/ 131 h 738"/>
              <a:gd name="T106" fmla="*/ 599 w 736"/>
              <a:gd name="T107" fmla="*/ 93 h 738"/>
              <a:gd name="T108" fmla="*/ 636 w 736"/>
              <a:gd name="T109" fmla="*/ 63 h 738"/>
              <a:gd name="T110" fmla="*/ 670 w 736"/>
              <a:gd name="T111" fmla="*/ 86 h 738"/>
              <a:gd name="T112" fmla="*/ 662 w 736"/>
              <a:gd name="T113" fmla="*/ 128 h 7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36" h="738">
                <a:moveTo>
                  <a:pt x="368" y="168"/>
                </a:moveTo>
                <a:lnTo>
                  <a:pt x="368" y="168"/>
                </a:lnTo>
                <a:lnTo>
                  <a:pt x="347" y="169"/>
                </a:lnTo>
                <a:lnTo>
                  <a:pt x="327" y="171"/>
                </a:lnTo>
                <a:lnTo>
                  <a:pt x="308" y="177"/>
                </a:lnTo>
                <a:lnTo>
                  <a:pt x="290" y="183"/>
                </a:lnTo>
                <a:lnTo>
                  <a:pt x="272" y="192"/>
                </a:lnTo>
                <a:lnTo>
                  <a:pt x="256" y="203"/>
                </a:lnTo>
                <a:lnTo>
                  <a:pt x="241" y="213"/>
                </a:lnTo>
                <a:lnTo>
                  <a:pt x="226" y="227"/>
                </a:lnTo>
                <a:lnTo>
                  <a:pt x="213" y="241"/>
                </a:lnTo>
                <a:lnTo>
                  <a:pt x="202" y="257"/>
                </a:lnTo>
                <a:lnTo>
                  <a:pt x="191" y="272"/>
                </a:lnTo>
                <a:lnTo>
                  <a:pt x="183" y="290"/>
                </a:lnTo>
                <a:lnTo>
                  <a:pt x="177" y="309"/>
                </a:lnTo>
                <a:lnTo>
                  <a:pt x="171" y="328"/>
                </a:lnTo>
                <a:lnTo>
                  <a:pt x="168" y="348"/>
                </a:lnTo>
                <a:lnTo>
                  <a:pt x="167" y="369"/>
                </a:lnTo>
                <a:lnTo>
                  <a:pt x="167" y="369"/>
                </a:lnTo>
                <a:lnTo>
                  <a:pt x="168" y="389"/>
                </a:lnTo>
                <a:lnTo>
                  <a:pt x="171" y="410"/>
                </a:lnTo>
                <a:lnTo>
                  <a:pt x="177" y="429"/>
                </a:lnTo>
                <a:lnTo>
                  <a:pt x="183" y="447"/>
                </a:lnTo>
                <a:lnTo>
                  <a:pt x="191" y="465"/>
                </a:lnTo>
                <a:lnTo>
                  <a:pt x="202" y="481"/>
                </a:lnTo>
                <a:lnTo>
                  <a:pt x="213" y="497"/>
                </a:lnTo>
                <a:lnTo>
                  <a:pt x="226" y="511"/>
                </a:lnTo>
                <a:lnTo>
                  <a:pt x="241" y="524"/>
                </a:lnTo>
                <a:lnTo>
                  <a:pt x="256" y="535"/>
                </a:lnTo>
                <a:lnTo>
                  <a:pt x="272" y="546"/>
                </a:lnTo>
                <a:lnTo>
                  <a:pt x="290" y="554"/>
                </a:lnTo>
                <a:lnTo>
                  <a:pt x="308" y="560"/>
                </a:lnTo>
                <a:lnTo>
                  <a:pt x="327" y="566"/>
                </a:lnTo>
                <a:lnTo>
                  <a:pt x="347" y="569"/>
                </a:lnTo>
                <a:lnTo>
                  <a:pt x="368" y="570"/>
                </a:lnTo>
                <a:lnTo>
                  <a:pt x="368" y="570"/>
                </a:lnTo>
                <a:lnTo>
                  <a:pt x="388" y="569"/>
                </a:lnTo>
                <a:lnTo>
                  <a:pt x="409" y="566"/>
                </a:lnTo>
                <a:lnTo>
                  <a:pt x="428" y="560"/>
                </a:lnTo>
                <a:lnTo>
                  <a:pt x="446" y="554"/>
                </a:lnTo>
                <a:lnTo>
                  <a:pt x="464" y="546"/>
                </a:lnTo>
                <a:lnTo>
                  <a:pt x="480" y="535"/>
                </a:lnTo>
                <a:lnTo>
                  <a:pt x="495" y="524"/>
                </a:lnTo>
                <a:lnTo>
                  <a:pt x="510" y="511"/>
                </a:lnTo>
                <a:lnTo>
                  <a:pt x="523" y="497"/>
                </a:lnTo>
                <a:lnTo>
                  <a:pt x="534" y="481"/>
                </a:lnTo>
                <a:lnTo>
                  <a:pt x="545" y="465"/>
                </a:lnTo>
                <a:lnTo>
                  <a:pt x="553" y="447"/>
                </a:lnTo>
                <a:lnTo>
                  <a:pt x="559" y="429"/>
                </a:lnTo>
                <a:lnTo>
                  <a:pt x="565" y="410"/>
                </a:lnTo>
                <a:lnTo>
                  <a:pt x="567" y="389"/>
                </a:lnTo>
                <a:lnTo>
                  <a:pt x="569" y="369"/>
                </a:lnTo>
                <a:lnTo>
                  <a:pt x="569" y="369"/>
                </a:lnTo>
                <a:lnTo>
                  <a:pt x="567" y="348"/>
                </a:lnTo>
                <a:lnTo>
                  <a:pt x="565" y="328"/>
                </a:lnTo>
                <a:lnTo>
                  <a:pt x="559" y="309"/>
                </a:lnTo>
                <a:lnTo>
                  <a:pt x="553" y="290"/>
                </a:lnTo>
                <a:lnTo>
                  <a:pt x="545" y="272"/>
                </a:lnTo>
                <a:lnTo>
                  <a:pt x="534" y="257"/>
                </a:lnTo>
                <a:lnTo>
                  <a:pt x="523" y="241"/>
                </a:lnTo>
                <a:lnTo>
                  <a:pt x="510" y="227"/>
                </a:lnTo>
                <a:lnTo>
                  <a:pt x="495" y="213"/>
                </a:lnTo>
                <a:lnTo>
                  <a:pt x="480" y="203"/>
                </a:lnTo>
                <a:lnTo>
                  <a:pt x="464" y="192"/>
                </a:lnTo>
                <a:lnTo>
                  <a:pt x="446" y="183"/>
                </a:lnTo>
                <a:lnTo>
                  <a:pt x="428" y="177"/>
                </a:lnTo>
                <a:lnTo>
                  <a:pt x="409" y="171"/>
                </a:lnTo>
                <a:lnTo>
                  <a:pt x="388" y="169"/>
                </a:lnTo>
                <a:lnTo>
                  <a:pt x="368" y="168"/>
                </a:lnTo>
                <a:lnTo>
                  <a:pt x="368" y="168"/>
                </a:lnTo>
                <a:close/>
                <a:moveTo>
                  <a:pt x="368" y="474"/>
                </a:moveTo>
                <a:lnTo>
                  <a:pt x="368" y="474"/>
                </a:lnTo>
                <a:lnTo>
                  <a:pt x="357" y="472"/>
                </a:lnTo>
                <a:lnTo>
                  <a:pt x="346" y="471"/>
                </a:lnTo>
                <a:lnTo>
                  <a:pt x="337" y="469"/>
                </a:lnTo>
                <a:lnTo>
                  <a:pt x="327" y="465"/>
                </a:lnTo>
                <a:lnTo>
                  <a:pt x="319" y="460"/>
                </a:lnTo>
                <a:lnTo>
                  <a:pt x="309" y="456"/>
                </a:lnTo>
                <a:lnTo>
                  <a:pt x="302" y="450"/>
                </a:lnTo>
                <a:lnTo>
                  <a:pt x="295" y="442"/>
                </a:lnTo>
                <a:lnTo>
                  <a:pt x="287" y="435"/>
                </a:lnTo>
                <a:lnTo>
                  <a:pt x="281" y="428"/>
                </a:lnTo>
                <a:lnTo>
                  <a:pt x="277" y="418"/>
                </a:lnTo>
                <a:lnTo>
                  <a:pt x="272" y="410"/>
                </a:lnTo>
                <a:lnTo>
                  <a:pt x="268" y="400"/>
                </a:lnTo>
                <a:lnTo>
                  <a:pt x="266" y="390"/>
                </a:lnTo>
                <a:lnTo>
                  <a:pt x="265" y="380"/>
                </a:lnTo>
                <a:lnTo>
                  <a:pt x="263" y="369"/>
                </a:lnTo>
                <a:lnTo>
                  <a:pt x="263" y="369"/>
                </a:lnTo>
                <a:lnTo>
                  <a:pt x="265" y="358"/>
                </a:lnTo>
                <a:lnTo>
                  <a:pt x="266" y="347"/>
                </a:lnTo>
                <a:lnTo>
                  <a:pt x="268" y="337"/>
                </a:lnTo>
                <a:lnTo>
                  <a:pt x="272" y="328"/>
                </a:lnTo>
                <a:lnTo>
                  <a:pt x="277" y="319"/>
                </a:lnTo>
                <a:lnTo>
                  <a:pt x="281" y="310"/>
                </a:lnTo>
                <a:lnTo>
                  <a:pt x="287" y="303"/>
                </a:lnTo>
                <a:lnTo>
                  <a:pt x="295" y="295"/>
                </a:lnTo>
                <a:lnTo>
                  <a:pt x="302" y="288"/>
                </a:lnTo>
                <a:lnTo>
                  <a:pt x="309" y="282"/>
                </a:lnTo>
                <a:lnTo>
                  <a:pt x="319" y="277"/>
                </a:lnTo>
                <a:lnTo>
                  <a:pt x="327" y="272"/>
                </a:lnTo>
                <a:lnTo>
                  <a:pt x="337" y="269"/>
                </a:lnTo>
                <a:lnTo>
                  <a:pt x="346" y="266"/>
                </a:lnTo>
                <a:lnTo>
                  <a:pt x="357" y="265"/>
                </a:lnTo>
                <a:lnTo>
                  <a:pt x="368" y="264"/>
                </a:lnTo>
                <a:lnTo>
                  <a:pt x="368" y="264"/>
                </a:lnTo>
                <a:lnTo>
                  <a:pt x="379" y="265"/>
                </a:lnTo>
                <a:lnTo>
                  <a:pt x="390" y="266"/>
                </a:lnTo>
                <a:lnTo>
                  <a:pt x="399" y="269"/>
                </a:lnTo>
                <a:lnTo>
                  <a:pt x="409" y="272"/>
                </a:lnTo>
                <a:lnTo>
                  <a:pt x="417" y="277"/>
                </a:lnTo>
                <a:lnTo>
                  <a:pt x="427" y="282"/>
                </a:lnTo>
                <a:lnTo>
                  <a:pt x="434" y="288"/>
                </a:lnTo>
                <a:lnTo>
                  <a:pt x="441" y="295"/>
                </a:lnTo>
                <a:lnTo>
                  <a:pt x="448" y="303"/>
                </a:lnTo>
                <a:lnTo>
                  <a:pt x="454" y="310"/>
                </a:lnTo>
                <a:lnTo>
                  <a:pt x="459" y="319"/>
                </a:lnTo>
                <a:lnTo>
                  <a:pt x="464" y="328"/>
                </a:lnTo>
                <a:lnTo>
                  <a:pt x="468" y="337"/>
                </a:lnTo>
                <a:lnTo>
                  <a:pt x="470" y="347"/>
                </a:lnTo>
                <a:lnTo>
                  <a:pt x="471" y="358"/>
                </a:lnTo>
                <a:lnTo>
                  <a:pt x="472" y="369"/>
                </a:lnTo>
                <a:lnTo>
                  <a:pt x="472" y="369"/>
                </a:lnTo>
                <a:lnTo>
                  <a:pt x="471" y="380"/>
                </a:lnTo>
                <a:lnTo>
                  <a:pt x="470" y="390"/>
                </a:lnTo>
                <a:lnTo>
                  <a:pt x="468" y="400"/>
                </a:lnTo>
                <a:lnTo>
                  <a:pt x="464" y="410"/>
                </a:lnTo>
                <a:lnTo>
                  <a:pt x="459" y="418"/>
                </a:lnTo>
                <a:lnTo>
                  <a:pt x="454" y="428"/>
                </a:lnTo>
                <a:lnTo>
                  <a:pt x="448" y="435"/>
                </a:lnTo>
                <a:lnTo>
                  <a:pt x="441" y="442"/>
                </a:lnTo>
                <a:lnTo>
                  <a:pt x="434" y="450"/>
                </a:lnTo>
                <a:lnTo>
                  <a:pt x="427" y="456"/>
                </a:lnTo>
                <a:lnTo>
                  <a:pt x="417" y="460"/>
                </a:lnTo>
                <a:lnTo>
                  <a:pt x="409" y="465"/>
                </a:lnTo>
                <a:lnTo>
                  <a:pt x="399" y="469"/>
                </a:lnTo>
                <a:lnTo>
                  <a:pt x="390" y="471"/>
                </a:lnTo>
                <a:lnTo>
                  <a:pt x="379" y="472"/>
                </a:lnTo>
                <a:lnTo>
                  <a:pt x="368" y="474"/>
                </a:lnTo>
                <a:lnTo>
                  <a:pt x="368" y="474"/>
                </a:lnTo>
                <a:close/>
                <a:moveTo>
                  <a:pt x="668" y="0"/>
                </a:moveTo>
                <a:lnTo>
                  <a:pt x="67" y="0"/>
                </a:lnTo>
                <a:lnTo>
                  <a:pt x="67" y="0"/>
                </a:lnTo>
                <a:lnTo>
                  <a:pt x="53" y="1"/>
                </a:lnTo>
                <a:lnTo>
                  <a:pt x="41" y="5"/>
                </a:lnTo>
                <a:lnTo>
                  <a:pt x="30" y="12"/>
                </a:lnTo>
                <a:lnTo>
                  <a:pt x="19" y="19"/>
                </a:lnTo>
                <a:lnTo>
                  <a:pt x="12" y="30"/>
                </a:lnTo>
                <a:lnTo>
                  <a:pt x="5" y="41"/>
                </a:lnTo>
                <a:lnTo>
                  <a:pt x="1" y="53"/>
                </a:lnTo>
                <a:lnTo>
                  <a:pt x="0" y="68"/>
                </a:lnTo>
                <a:lnTo>
                  <a:pt x="0" y="670"/>
                </a:lnTo>
                <a:lnTo>
                  <a:pt x="0" y="670"/>
                </a:lnTo>
                <a:lnTo>
                  <a:pt x="1" y="685"/>
                </a:lnTo>
                <a:lnTo>
                  <a:pt x="5" y="697"/>
                </a:lnTo>
                <a:lnTo>
                  <a:pt x="12" y="707"/>
                </a:lnTo>
                <a:lnTo>
                  <a:pt x="19" y="718"/>
                </a:lnTo>
                <a:lnTo>
                  <a:pt x="30" y="725"/>
                </a:lnTo>
                <a:lnTo>
                  <a:pt x="41" y="733"/>
                </a:lnTo>
                <a:lnTo>
                  <a:pt x="53" y="736"/>
                </a:lnTo>
                <a:lnTo>
                  <a:pt x="67" y="738"/>
                </a:lnTo>
                <a:lnTo>
                  <a:pt x="668" y="738"/>
                </a:lnTo>
                <a:lnTo>
                  <a:pt x="668" y="738"/>
                </a:lnTo>
                <a:lnTo>
                  <a:pt x="683" y="736"/>
                </a:lnTo>
                <a:lnTo>
                  <a:pt x="695" y="733"/>
                </a:lnTo>
                <a:lnTo>
                  <a:pt x="706" y="725"/>
                </a:lnTo>
                <a:lnTo>
                  <a:pt x="716" y="718"/>
                </a:lnTo>
                <a:lnTo>
                  <a:pt x="724" y="707"/>
                </a:lnTo>
                <a:lnTo>
                  <a:pt x="731" y="697"/>
                </a:lnTo>
                <a:lnTo>
                  <a:pt x="734" y="685"/>
                </a:lnTo>
                <a:lnTo>
                  <a:pt x="736" y="670"/>
                </a:lnTo>
                <a:lnTo>
                  <a:pt x="736" y="68"/>
                </a:lnTo>
                <a:lnTo>
                  <a:pt x="736" y="68"/>
                </a:lnTo>
                <a:lnTo>
                  <a:pt x="734" y="53"/>
                </a:lnTo>
                <a:lnTo>
                  <a:pt x="731" y="41"/>
                </a:lnTo>
                <a:lnTo>
                  <a:pt x="724" y="30"/>
                </a:lnTo>
                <a:lnTo>
                  <a:pt x="716" y="19"/>
                </a:lnTo>
                <a:lnTo>
                  <a:pt x="706" y="12"/>
                </a:lnTo>
                <a:lnTo>
                  <a:pt x="695" y="5"/>
                </a:lnTo>
                <a:lnTo>
                  <a:pt x="683" y="1"/>
                </a:lnTo>
                <a:lnTo>
                  <a:pt x="668" y="0"/>
                </a:lnTo>
                <a:lnTo>
                  <a:pt x="668" y="0"/>
                </a:lnTo>
                <a:close/>
                <a:moveTo>
                  <a:pt x="100" y="63"/>
                </a:moveTo>
                <a:lnTo>
                  <a:pt x="100" y="63"/>
                </a:lnTo>
                <a:lnTo>
                  <a:pt x="108" y="64"/>
                </a:lnTo>
                <a:lnTo>
                  <a:pt x="116" y="66"/>
                </a:lnTo>
                <a:lnTo>
                  <a:pt x="122" y="70"/>
                </a:lnTo>
                <a:lnTo>
                  <a:pt x="128" y="74"/>
                </a:lnTo>
                <a:lnTo>
                  <a:pt x="131" y="80"/>
                </a:lnTo>
                <a:lnTo>
                  <a:pt x="135" y="86"/>
                </a:lnTo>
                <a:lnTo>
                  <a:pt x="137" y="93"/>
                </a:lnTo>
                <a:lnTo>
                  <a:pt x="138" y="100"/>
                </a:lnTo>
                <a:lnTo>
                  <a:pt x="138" y="100"/>
                </a:lnTo>
                <a:lnTo>
                  <a:pt x="137" y="109"/>
                </a:lnTo>
                <a:lnTo>
                  <a:pt x="135" y="116"/>
                </a:lnTo>
                <a:lnTo>
                  <a:pt x="131" y="122"/>
                </a:lnTo>
                <a:lnTo>
                  <a:pt x="128" y="128"/>
                </a:lnTo>
                <a:lnTo>
                  <a:pt x="122" y="131"/>
                </a:lnTo>
                <a:lnTo>
                  <a:pt x="116" y="135"/>
                </a:lnTo>
                <a:lnTo>
                  <a:pt x="108" y="137"/>
                </a:lnTo>
                <a:lnTo>
                  <a:pt x="100" y="139"/>
                </a:lnTo>
                <a:lnTo>
                  <a:pt x="100" y="139"/>
                </a:lnTo>
                <a:lnTo>
                  <a:pt x="93" y="137"/>
                </a:lnTo>
                <a:lnTo>
                  <a:pt x="85" y="135"/>
                </a:lnTo>
                <a:lnTo>
                  <a:pt x="79" y="131"/>
                </a:lnTo>
                <a:lnTo>
                  <a:pt x="73" y="128"/>
                </a:lnTo>
                <a:lnTo>
                  <a:pt x="70" y="122"/>
                </a:lnTo>
                <a:lnTo>
                  <a:pt x="66" y="116"/>
                </a:lnTo>
                <a:lnTo>
                  <a:pt x="64" y="109"/>
                </a:lnTo>
                <a:lnTo>
                  <a:pt x="63" y="100"/>
                </a:lnTo>
                <a:lnTo>
                  <a:pt x="63" y="100"/>
                </a:lnTo>
                <a:lnTo>
                  <a:pt x="64" y="93"/>
                </a:lnTo>
                <a:lnTo>
                  <a:pt x="66" y="86"/>
                </a:lnTo>
                <a:lnTo>
                  <a:pt x="70" y="80"/>
                </a:lnTo>
                <a:lnTo>
                  <a:pt x="73" y="74"/>
                </a:lnTo>
                <a:lnTo>
                  <a:pt x="79" y="70"/>
                </a:lnTo>
                <a:lnTo>
                  <a:pt x="85" y="66"/>
                </a:lnTo>
                <a:lnTo>
                  <a:pt x="93" y="64"/>
                </a:lnTo>
                <a:lnTo>
                  <a:pt x="100" y="63"/>
                </a:lnTo>
                <a:lnTo>
                  <a:pt x="100" y="63"/>
                </a:lnTo>
                <a:close/>
                <a:moveTo>
                  <a:pt x="100" y="675"/>
                </a:moveTo>
                <a:lnTo>
                  <a:pt x="100" y="675"/>
                </a:lnTo>
                <a:lnTo>
                  <a:pt x="93" y="674"/>
                </a:lnTo>
                <a:lnTo>
                  <a:pt x="85" y="671"/>
                </a:lnTo>
                <a:lnTo>
                  <a:pt x="79" y="668"/>
                </a:lnTo>
                <a:lnTo>
                  <a:pt x="73" y="664"/>
                </a:lnTo>
                <a:lnTo>
                  <a:pt x="70" y="658"/>
                </a:lnTo>
                <a:lnTo>
                  <a:pt x="66" y="652"/>
                </a:lnTo>
                <a:lnTo>
                  <a:pt x="64" y="645"/>
                </a:lnTo>
                <a:lnTo>
                  <a:pt x="63" y="638"/>
                </a:lnTo>
                <a:lnTo>
                  <a:pt x="63" y="638"/>
                </a:lnTo>
                <a:lnTo>
                  <a:pt x="64" y="629"/>
                </a:lnTo>
                <a:lnTo>
                  <a:pt x="66" y="622"/>
                </a:lnTo>
                <a:lnTo>
                  <a:pt x="70" y="616"/>
                </a:lnTo>
                <a:lnTo>
                  <a:pt x="73" y="610"/>
                </a:lnTo>
                <a:lnTo>
                  <a:pt x="79" y="606"/>
                </a:lnTo>
                <a:lnTo>
                  <a:pt x="85" y="603"/>
                </a:lnTo>
                <a:lnTo>
                  <a:pt x="93" y="600"/>
                </a:lnTo>
                <a:lnTo>
                  <a:pt x="100" y="599"/>
                </a:lnTo>
                <a:lnTo>
                  <a:pt x="100" y="599"/>
                </a:lnTo>
                <a:lnTo>
                  <a:pt x="108" y="600"/>
                </a:lnTo>
                <a:lnTo>
                  <a:pt x="116" y="603"/>
                </a:lnTo>
                <a:lnTo>
                  <a:pt x="122" y="606"/>
                </a:lnTo>
                <a:lnTo>
                  <a:pt x="128" y="610"/>
                </a:lnTo>
                <a:lnTo>
                  <a:pt x="131" y="616"/>
                </a:lnTo>
                <a:lnTo>
                  <a:pt x="135" y="622"/>
                </a:lnTo>
                <a:lnTo>
                  <a:pt x="137" y="629"/>
                </a:lnTo>
                <a:lnTo>
                  <a:pt x="138" y="638"/>
                </a:lnTo>
                <a:lnTo>
                  <a:pt x="138" y="638"/>
                </a:lnTo>
                <a:lnTo>
                  <a:pt x="137" y="645"/>
                </a:lnTo>
                <a:lnTo>
                  <a:pt x="135" y="652"/>
                </a:lnTo>
                <a:lnTo>
                  <a:pt x="131" y="658"/>
                </a:lnTo>
                <a:lnTo>
                  <a:pt x="128" y="664"/>
                </a:lnTo>
                <a:lnTo>
                  <a:pt x="122" y="668"/>
                </a:lnTo>
                <a:lnTo>
                  <a:pt x="116" y="671"/>
                </a:lnTo>
                <a:lnTo>
                  <a:pt x="108" y="674"/>
                </a:lnTo>
                <a:lnTo>
                  <a:pt x="100" y="675"/>
                </a:lnTo>
                <a:lnTo>
                  <a:pt x="100" y="675"/>
                </a:lnTo>
                <a:close/>
                <a:moveTo>
                  <a:pt x="368" y="641"/>
                </a:moveTo>
                <a:lnTo>
                  <a:pt x="368" y="641"/>
                </a:lnTo>
                <a:lnTo>
                  <a:pt x="340" y="640"/>
                </a:lnTo>
                <a:lnTo>
                  <a:pt x="313" y="635"/>
                </a:lnTo>
                <a:lnTo>
                  <a:pt x="287" y="629"/>
                </a:lnTo>
                <a:lnTo>
                  <a:pt x="262" y="619"/>
                </a:lnTo>
                <a:lnTo>
                  <a:pt x="238" y="609"/>
                </a:lnTo>
                <a:lnTo>
                  <a:pt x="216" y="594"/>
                </a:lnTo>
                <a:lnTo>
                  <a:pt x="195" y="578"/>
                </a:lnTo>
                <a:lnTo>
                  <a:pt x="176" y="562"/>
                </a:lnTo>
                <a:lnTo>
                  <a:pt x="159" y="542"/>
                </a:lnTo>
                <a:lnTo>
                  <a:pt x="143" y="521"/>
                </a:lnTo>
                <a:lnTo>
                  <a:pt x="129" y="499"/>
                </a:lnTo>
                <a:lnTo>
                  <a:pt x="118" y="475"/>
                </a:lnTo>
                <a:lnTo>
                  <a:pt x="108" y="450"/>
                </a:lnTo>
                <a:lnTo>
                  <a:pt x="102" y="424"/>
                </a:lnTo>
                <a:lnTo>
                  <a:pt x="97" y="397"/>
                </a:lnTo>
                <a:lnTo>
                  <a:pt x="96" y="369"/>
                </a:lnTo>
                <a:lnTo>
                  <a:pt x="96" y="369"/>
                </a:lnTo>
                <a:lnTo>
                  <a:pt x="97" y="341"/>
                </a:lnTo>
                <a:lnTo>
                  <a:pt x="102" y="313"/>
                </a:lnTo>
                <a:lnTo>
                  <a:pt x="108" y="288"/>
                </a:lnTo>
                <a:lnTo>
                  <a:pt x="118" y="263"/>
                </a:lnTo>
                <a:lnTo>
                  <a:pt x="129" y="239"/>
                </a:lnTo>
                <a:lnTo>
                  <a:pt x="143" y="217"/>
                </a:lnTo>
                <a:lnTo>
                  <a:pt x="159" y="195"/>
                </a:lnTo>
                <a:lnTo>
                  <a:pt x="176" y="176"/>
                </a:lnTo>
                <a:lnTo>
                  <a:pt x="195" y="159"/>
                </a:lnTo>
                <a:lnTo>
                  <a:pt x="216" y="143"/>
                </a:lnTo>
                <a:lnTo>
                  <a:pt x="238" y="129"/>
                </a:lnTo>
                <a:lnTo>
                  <a:pt x="262" y="118"/>
                </a:lnTo>
                <a:lnTo>
                  <a:pt x="287" y="109"/>
                </a:lnTo>
                <a:lnTo>
                  <a:pt x="313" y="103"/>
                </a:lnTo>
                <a:lnTo>
                  <a:pt x="340" y="98"/>
                </a:lnTo>
                <a:lnTo>
                  <a:pt x="368" y="96"/>
                </a:lnTo>
                <a:lnTo>
                  <a:pt x="368" y="96"/>
                </a:lnTo>
                <a:lnTo>
                  <a:pt x="396" y="98"/>
                </a:lnTo>
                <a:lnTo>
                  <a:pt x="423" y="103"/>
                </a:lnTo>
                <a:lnTo>
                  <a:pt x="448" y="109"/>
                </a:lnTo>
                <a:lnTo>
                  <a:pt x="474" y="118"/>
                </a:lnTo>
                <a:lnTo>
                  <a:pt x="498" y="129"/>
                </a:lnTo>
                <a:lnTo>
                  <a:pt x="519" y="143"/>
                </a:lnTo>
                <a:lnTo>
                  <a:pt x="541" y="159"/>
                </a:lnTo>
                <a:lnTo>
                  <a:pt x="560" y="176"/>
                </a:lnTo>
                <a:lnTo>
                  <a:pt x="577" y="195"/>
                </a:lnTo>
                <a:lnTo>
                  <a:pt x="593" y="217"/>
                </a:lnTo>
                <a:lnTo>
                  <a:pt x="607" y="239"/>
                </a:lnTo>
                <a:lnTo>
                  <a:pt x="618" y="263"/>
                </a:lnTo>
                <a:lnTo>
                  <a:pt x="628" y="288"/>
                </a:lnTo>
                <a:lnTo>
                  <a:pt x="634" y="313"/>
                </a:lnTo>
                <a:lnTo>
                  <a:pt x="638" y="341"/>
                </a:lnTo>
                <a:lnTo>
                  <a:pt x="640" y="369"/>
                </a:lnTo>
                <a:lnTo>
                  <a:pt x="640" y="369"/>
                </a:lnTo>
                <a:lnTo>
                  <a:pt x="638" y="397"/>
                </a:lnTo>
                <a:lnTo>
                  <a:pt x="634" y="424"/>
                </a:lnTo>
                <a:lnTo>
                  <a:pt x="628" y="450"/>
                </a:lnTo>
                <a:lnTo>
                  <a:pt x="618" y="475"/>
                </a:lnTo>
                <a:lnTo>
                  <a:pt x="607" y="499"/>
                </a:lnTo>
                <a:lnTo>
                  <a:pt x="593" y="521"/>
                </a:lnTo>
                <a:lnTo>
                  <a:pt x="577" y="542"/>
                </a:lnTo>
                <a:lnTo>
                  <a:pt x="560" y="562"/>
                </a:lnTo>
                <a:lnTo>
                  <a:pt x="541" y="578"/>
                </a:lnTo>
                <a:lnTo>
                  <a:pt x="519" y="594"/>
                </a:lnTo>
                <a:lnTo>
                  <a:pt x="498" y="609"/>
                </a:lnTo>
                <a:lnTo>
                  <a:pt x="474" y="619"/>
                </a:lnTo>
                <a:lnTo>
                  <a:pt x="448" y="629"/>
                </a:lnTo>
                <a:lnTo>
                  <a:pt x="423" y="635"/>
                </a:lnTo>
                <a:lnTo>
                  <a:pt x="396" y="640"/>
                </a:lnTo>
                <a:lnTo>
                  <a:pt x="368" y="641"/>
                </a:lnTo>
                <a:lnTo>
                  <a:pt x="368" y="641"/>
                </a:lnTo>
                <a:close/>
                <a:moveTo>
                  <a:pt x="636" y="675"/>
                </a:moveTo>
                <a:lnTo>
                  <a:pt x="636" y="675"/>
                </a:lnTo>
                <a:lnTo>
                  <a:pt x="628" y="674"/>
                </a:lnTo>
                <a:lnTo>
                  <a:pt x="620" y="671"/>
                </a:lnTo>
                <a:lnTo>
                  <a:pt x="614" y="668"/>
                </a:lnTo>
                <a:lnTo>
                  <a:pt x="608" y="664"/>
                </a:lnTo>
                <a:lnTo>
                  <a:pt x="605" y="658"/>
                </a:lnTo>
                <a:lnTo>
                  <a:pt x="601" y="652"/>
                </a:lnTo>
                <a:lnTo>
                  <a:pt x="599" y="645"/>
                </a:lnTo>
                <a:lnTo>
                  <a:pt x="597" y="638"/>
                </a:lnTo>
                <a:lnTo>
                  <a:pt x="597" y="638"/>
                </a:lnTo>
                <a:lnTo>
                  <a:pt x="599" y="629"/>
                </a:lnTo>
                <a:lnTo>
                  <a:pt x="601" y="622"/>
                </a:lnTo>
                <a:lnTo>
                  <a:pt x="605" y="616"/>
                </a:lnTo>
                <a:lnTo>
                  <a:pt x="608" y="610"/>
                </a:lnTo>
                <a:lnTo>
                  <a:pt x="614" y="606"/>
                </a:lnTo>
                <a:lnTo>
                  <a:pt x="620" y="603"/>
                </a:lnTo>
                <a:lnTo>
                  <a:pt x="628" y="600"/>
                </a:lnTo>
                <a:lnTo>
                  <a:pt x="636" y="599"/>
                </a:lnTo>
                <a:lnTo>
                  <a:pt x="636" y="599"/>
                </a:lnTo>
                <a:lnTo>
                  <a:pt x="643" y="600"/>
                </a:lnTo>
                <a:lnTo>
                  <a:pt x="650" y="603"/>
                </a:lnTo>
                <a:lnTo>
                  <a:pt x="656" y="606"/>
                </a:lnTo>
                <a:lnTo>
                  <a:pt x="662" y="610"/>
                </a:lnTo>
                <a:lnTo>
                  <a:pt x="666" y="616"/>
                </a:lnTo>
                <a:lnTo>
                  <a:pt x="670" y="622"/>
                </a:lnTo>
                <a:lnTo>
                  <a:pt x="672" y="629"/>
                </a:lnTo>
                <a:lnTo>
                  <a:pt x="673" y="638"/>
                </a:lnTo>
                <a:lnTo>
                  <a:pt x="673" y="638"/>
                </a:lnTo>
                <a:lnTo>
                  <a:pt x="672" y="645"/>
                </a:lnTo>
                <a:lnTo>
                  <a:pt x="670" y="652"/>
                </a:lnTo>
                <a:lnTo>
                  <a:pt x="666" y="658"/>
                </a:lnTo>
                <a:lnTo>
                  <a:pt x="662" y="664"/>
                </a:lnTo>
                <a:lnTo>
                  <a:pt x="656" y="668"/>
                </a:lnTo>
                <a:lnTo>
                  <a:pt x="650" y="671"/>
                </a:lnTo>
                <a:lnTo>
                  <a:pt x="643" y="674"/>
                </a:lnTo>
                <a:lnTo>
                  <a:pt x="636" y="675"/>
                </a:lnTo>
                <a:lnTo>
                  <a:pt x="636" y="675"/>
                </a:lnTo>
                <a:close/>
                <a:moveTo>
                  <a:pt x="636" y="139"/>
                </a:moveTo>
                <a:lnTo>
                  <a:pt x="636" y="139"/>
                </a:lnTo>
                <a:lnTo>
                  <a:pt x="628" y="137"/>
                </a:lnTo>
                <a:lnTo>
                  <a:pt x="620" y="135"/>
                </a:lnTo>
                <a:lnTo>
                  <a:pt x="614" y="131"/>
                </a:lnTo>
                <a:lnTo>
                  <a:pt x="608" y="128"/>
                </a:lnTo>
                <a:lnTo>
                  <a:pt x="605" y="122"/>
                </a:lnTo>
                <a:lnTo>
                  <a:pt x="601" y="116"/>
                </a:lnTo>
                <a:lnTo>
                  <a:pt x="599" y="109"/>
                </a:lnTo>
                <a:lnTo>
                  <a:pt x="597" y="100"/>
                </a:lnTo>
                <a:lnTo>
                  <a:pt x="597" y="100"/>
                </a:lnTo>
                <a:lnTo>
                  <a:pt x="599" y="93"/>
                </a:lnTo>
                <a:lnTo>
                  <a:pt x="601" y="86"/>
                </a:lnTo>
                <a:lnTo>
                  <a:pt x="605" y="80"/>
                </a:lnTo>
                <a:lnTo>
                  <a:pt x="608" y="74"/>
                </a:lnTo>
                <a:lnTo>
                  <a:pt x="614" y="70"/>
                </a:lnTo>
                <a:lnTo>
                  <a:pt x="620" y="66"/>
                </a:lnTo>
                <a:lnTo>
                  <a:pt x="628" y="64"/>
                </a:lnTo>
                <a:lnTo>
                  <a:pt x="636" y="63"/>
                </a:lnTo>
                <a:lnTo>
                  <a:pt x="636" y="63"/>
                </a:lnTo>
                <a:lnTo>
                  <a:pt x="643" y="64"/>
                </a:lnTo>
                <a:lnTo>
                  <a:pt x="650" y="66"/>
                </a:lnTo>
                <a:lnTo>
                  <a:pt x="656" y="70"/>
                </a:lnTo>
                <a:lnTo>
                  <a:pt x="662" y="74"/>
                </a:lnTo>
                <a:lnTo>
                  <a:pt x="666" y="80"/>
                </a:lnTo>
                <a:lnTo>
                  <a:pt x="670" y="86"/>
                </a:lnTo>
                <a:lnTo>
                  <a:pt x="672" y="93"/>
                </a:lnTo>
                <a:lnTo>
                  <a:pt x="673" y="100"/>
                </a:lnTo>
                <a:lnTo>
                  <a:pt x="673" y="100"/>
                </a:lnTo>
                <a:lnTo>
                  <a:pt x="672" y="109"/>
                </a:lnTo>
                <a:lnTo>
                  <a:pt x="670" y="116"/>
                </a:lnTo>
                <a:lnTo>
                  <a:pt x="666" y="122"/>
                </a:lnTo>
                <a:lnTo>
                  <a:pt x="662" y="128"/>
                </a:lnTo>
                <a:lnTo>
                  <a:pt x="656" y="131"/>
                </a:lnTo>
                <a:lnTo>
                  <a:pt x="650" y="135"/>
                </a:lnTo>
                <a:lnTo>
                  <a:pt x="643" y="137"/>
                </a:lnTo>
                <a:lnTo>
                  <a:pt x="636" y="139"/>
                </a:lnTo>
                <a:lnTo>
                  <a:pt x="636" y="13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39" name="Freeform 8"/>
          <p:cNvSpPr>
            <a:spLocks noEditPoints="1"/>
          </p:cNvSpPr>
          <p:nvPr/>
        </p:nvSpPr>
        <p:spPr bwMode="auto">
          <a:xfrm>
            <a:off x="4024506" y="4442354"/>
            <a:ext cx="399743" cy="283450"/>
          </a:xfrm>
          <a:custGeom>
            <a:avLst/>
            <a:gdLst>
              <a:gd name="T0" fmla="*/ 747 w 1356"/>
              <a:gd name="T1" fmla="*/ 10 h 907"/>
              <a:gd name="T2" fmla="*/ 630 w 1356"/>
              <a:gd name="T3" fmla="*/ 1 h 907"/>
              <a:gd name="T4" fmla="*/ 574 w 1356"/>
              <a:gd name="T5" fmla="*/ 66 h 907"/>
              <a:gd name="T6" fmla="*/ 377 w 1356"/>
              <a:gd name="T7" fmla="*/ 100 h 907"/>
              <a:gd name="T8" fmla="*/ 187 w 1356"/>
              <a:gd name="T9" fmla="*/ 215 h 907"/>
              <a:gd name="T10" fmla="*/ 56 w 1356"/>
              <a:gd name="T11" fmla="*/ 391 h 907"/>
              <a:gd name="T12" fmla="*/ 0 w 1356"/>
              <a:gd name="T13" fmla="*/ 609 h 907"/>
              <a:gd name="T14" fmla="*/ 7 w 1356"/>
              <a:gd name="T15" fmla="*/ 829 h 907"/>
              <a:gd name="T16" fmla="*/ 50 w 1356"/>
              <a:gd name="T17" fmla="*/ 896 h 907"/>
              <a:gd name="T18" fmla="*/ 118 w 1356"/>
              <a:gd name="T19" fmla="*/ 904 h 907"/>
              <a:gd name="T20" fmla="*/ 284 w 1356"/>
              <a:gd name="T21" fmla="*/ 794 h 907"/>
              <a:gd name="T22" fmla="*/ 519 w 1356"/>
              <a:gd name="T23" fmla="*/ 629 h 907"/>
              <a:gd name="T24" fmla="*/ 678 w 1356"/>
              <a:gd name="T25" fmla="*/ 596 h 907"/>
              <a:gd name="T26" fmla="*/ 808 w 1356"/>
              <a:gd name="T27" fmla="*/ 618 h 907"/>
              <a:gd name="T28" fmla="*/ 1022 w 1356"/>
              <a:gd name="T29" fmla="*/ 752 h 907"/>
              <a:gd name="T30" fmla="*/ 1228 w 1356"/>
              <a:gd name="T31" fmla="*/ 901 h 907"/>
              <a:gd name="T32" fmla="*/ 1299 w 1356"/>
              <a:gd name="T33" fmla="*/ 899 h 907"/>
              <a:gd name="T34" fmla="*/ 1344 w 1356"/>
              <a:gd name="T35" fmla="*/ 841 h 907"/>
              <a:gd name="T36" fmla="*/ 1356 w 1356"/>
              <a:gd name="T37" fmla="*/ 639 h 907"/>
              <a:gd name="T38" fmla="*/ 1311 w 1356"/>
              <a:gd name="T39" fmla="*/ 416 h 907"/>
              <a:gd name="T40" fmla="*/ 1188 w 1356"/>
              <a:gd name="T41" fmla="*/ 233 h 907"/>
              <a:gd name="T42" fmla="*/ 1005 w 1356"/>
              <a:gd name="T43" fmla="*/ 111 h 907"/>
              <a:gd name="T44" fmla="*/ 782 w 1356"/>
              <a:gd name="T45" fmla="*/ 66 h 907"/>
              <a:gd name="T46" fmla="*/ 366 w 1356"/>
              <a:gd name="T47" fmla="*/ 515 h 907"/>
              <a:gd name="T48" fmla="*/ 338 w 1356"/>
              <a:gd name="T49" fmla="*/ 612 h 907"/>
              <a:gd name="T50" fmla="*/ 295 w 1356"/>
              <a:gd name="T51" fmla="*/ 606 h 907"/>
              <a:gd name="T52" fmla="*/ 265 w 1356"/>
              <a:gd name="T53" fmla="*/ 509 h 907"/>
              <a:gd name="T54" fmla="*/ 170 w 1356"/>
              <a:gd name="T55" fmla="*/ 478 h 907"/>
              <a:gd name="T56" fmla="*/ 143 w 1356"/>
              <a:gd name="T57" fmla="*/ 435 h 907"/>
              <a:gd name="T58" fmla="*/ 206 w 1356"/>
              <a:gd name="T59" fmla="*/ 394 h 907"/>
              <a:gd name="T60" fmla="*/ 274 w 1356"/>
              <a:gd name="T61" fmla="*/ 326 h 907"/>
              <a:gd name="T62" fmla="*/ 315 w 1356"/>
              <a:gd name="T63" fmla="*/ 263 h 907"/>
              <a:gd name="T64" fmla="*/ 358 w 1356"/>
              <a:gd name="T65" fmla="*/ 290 h 907"/>
              <a:gd name="T66" fmla="*/ 385 w 1356"/>
              <a:gd name="T67" fmla="*/ 388 h 907"/>
              <a:gd name="T68" fmla="*/ 487 w 1356"/>
              <a:gd name="T69" fmla="*/ 415 h 907"/>
              <a:gd name="T70" fmla="*/ 492 w 1356"/>
              <a:gd name="T71" fmla="*/ 458 h 907"/>
              <a:gd name="T72" fmla="*/ 908 w 1356"/>
              <a:gd name="T73" fmla="*/ 436 h 907"/>
              <a:gd name="T74" fmla="*/ 839 w 1356"/>
              <a:gd name="T75" fmla="*/ 457 h 907"/>
              <a:gd name="T76" fmla="*/ 805 w 1356"/>
              <a:gd name="T77" fmla="*/ 393 h 907"/>
              <a:gd name="T78" fmla="*/ 861 w 1356"/>
              <a:gd name="T79" fmla="*/ 348 h 907"/>
              <a:gd name="T80" fmla="*/ 917 w 1356"/>
              <a:gd name="T81" fmla="*/ 393 h 907"/>
              <a:gd name="T82" fmla="*/ 912 w 1356"/>
              <a:gd name="T83" fmla="*/ 230 h 907"/>
              <a:gd name="T84" fmla="*/ 983 w 1356"/>
              <a:gd name="T85" fmla="*/ 223 h 907"/>
              <a:gd name="T86" fmla="*/ 998 w 1356"/>
              <a:gd name="T87" fmla="*/ 302 h 907"/>
              <a:gd name="T88" fmla="*/ 930 w 1356"/>
              <a:gd name="T89" fmla="*/ 323 h 907"/>
              <a:gd name="T90" fmla="*/ 895 w 1356"/>
              <a:gd name="T91" fmla="*/ 259 h 907"/>
              <a:gd name="T92" fmla="*/ 1008 w 1356"/>
              <a:gd name="T93" fmla="*/ 541 h 907"/>
              <a:gd name="T94" fmla="*/ 939 w 1356"/>
              <a:gd name="T95" fmla="*/ 520 h 907"/>
              <a:gd name="T96" fmla="*/ 946 w 1356"/>
              <a:gd name="T97" fmla="*/ 448 h 907"/>
              <a:gd name="T98" fmla="*/ 1018 w 1356"/>
              <a:gd name="T99" fmla="*/ 442 h 907"/>
              <a:gd name="T100" fmla="*/ 1033 w 1356"/>
              <a:gd name="T101" fmla="*/ 521 h 907"/>
              <a:gd name="T102" fmla="*/ 1078 w 1356"/>
              <a:gd name="T103" fmla="*/ 412 h 907"/>
              <a:gd name="T104" fmla="*/ 1021 w 1356"/>
              <a:gd name="T105" fmla="*/ 365 h 907"/>
              <a:gd name="T106" fmla="*/ 1056 w 1356"/>
              <a:gd name="T107" fmla="*/ 302 h 907"/>
              <a:gd name="T108" fmla="*/ 1125 w 1356"/>
              <a:gd name="T109" fmla="*/ 324 h 907"/>
              <a:gd name="T110" fmla="*/ 1250 w 1356"/>
              <a:gd name="T111" fmla="*/ 471 h 907"/>
              <a:gd name="T112" fmla="*/ 1182 w 1356"/>
              <a:gd name="T113" fmla="*/ 492 h 907"/>
              <a:gd name="T114" fmla="*/ 1147 w 1356"/>
              <a:gd name="T115" fmla="*/ 428 h 907"/>
              <a:gd name="T116" fmla="*/ 1202 w 1356"/>
              <a:gd name="T117" fmla="*/ 382 h 907"/>
              <a:gd name="T118" fmla="*/ 1259 w 1356"/>
              <a:gd name="T119" fmla="*/ 428 h 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356" h="907">
                <a:moveTo>
                  <a:pt x="782" y="66"/>
                </a:moveTo>
                <a:lnTo>
                  <a:pt x="778" y="66"/>
                </a:lnTo>
                <a:lnTo>
                  <a:pt x="778" y="66"/>
                </a:lnTo>
                <a:lnTo>
                  <a:pt x="775" y="52"/>
                </a:lnTo>
                <a:lnTo>
                  <a:pt x="771" y="40"/>
                </a:lnTo>
                <a:lnTo>
                  <a:pt x="764" y="28"/>
                </a:lnTo>
                <a:lnTo>
                  <a:pt x="757" y="18"/>
                </a:lnTo>
                <a:lnTo>
                  <a:pt x="747" y="10"/>
                </a:lnTo>
                <a:lnTo>
                  <a:pt x="737" y="4"/>
                </a:lnTo>
                <a:lnTo>
                  <a:pt x="726" y="1"/>
                </a:lnTo>
                <a:lnTo>
                  <a:pt x="721" y="0"/>
                </a:lnTo>
                <a:lnTo>
                  <a:pt x="715" y="0"/>
                </a:lnTo>
                <a:lnTo>
                  <a:pt x="641" y="0"/>
                </a:lnTo>
                <a:lnTo>
                  <a:pt x="641" y="0"/>
                </a:lnTo>
                <a:lnTo>
                  <a:pt x="635" y="0"/>
                </a:lnTo>
                <a:lnTo>
                  <a:pt x="630" y="1"/>
                </a:lnTo>
                <a:lnTo>
                  <a:pt x="619" y="4"/>
                </a:lnTo>
                <a:lnTo>
                  <a:pt x="608" y="10"/>
                </a:lnTo>
                <a:lnTo>
                  <a:pt x="599" y="18"/>
                </a:lnTo>
                <a:lnTo>
                  <a:pt x="592" y="28"/>
                </a:lnTo>
                <a:lnTo>
                  <a:pt x="585" y="40"/>
                </a:lnTo>
                <a:lnTo>
                  <a:pt x="581" y="52"/>
                </a:lnTo>
                <a:lnTo>
                  <a:pt x="578" y="66"/>
                </a:lnTo>
                <a:lnTo>
                  <a:pt x="574" y="66"/>
                </a:lnTo>
                <a:lnTo>
                  <a:pt x="574" y="66"/>
                </a:lnTo>
                <a:lnTo>
                  <a:pt x="545" y="67"/>
                </a:lnTo>
                <a:lnTo>
                  <a:pt x="516" y="69"/>
                </a:lnTo>
                <a:lnTo>
                  <a:pt x="487" y="72"/>
                </a:lnTo>
                <a:lnTo>
                  <a:pt x="458" y="77"/>
                </a:lnTo>
                <a:lnTo>
                  <a:pt x="430" y="84"/>
                </a:lnTo>
                <a:lnTo>
                  <a:pt x="403" y="92"/>
                </a:lnTo>
                <a:lnTo>
                  <a:pt x="377" y="100"/>
                </a:lnTo>
                <a:lnTo>
                  <a:pt x="351" y="111"/>
                </a:lnTo>
                <a:lnTo>
                  <a:pt x="325" y="122"/>
                </a:lnTo>
                <a:lnTo>
                  <a:pt x="300" y="135"/>
                </a:lnTo>
                <a:lnTo>
                  <a:pt x="276" y="149"/>
                </a:lnTo>
                <a:lnTo>
                  <a:pt x="254" y="164"/>
                </a:lnTo>
                <a:lnTo>
                  <a:pt x="231" y="180"/>
                </a:lnTo>
                <a:lnTo>
                  <a:pt x="209" y="196"/>
                </a:lnTo>
                <a:lnTo>
                  <a:pt x="187" y="215"/>
                </a:lnTo>
                <a:lnTo>
                  <a:pt x="168" y="233"/>
                </a:lnTo>
                <a:lnTo>
                  <a:pt x="149" y="254"/>
                </a:lnTo>
                <a:lnTo>
                  <a:pt x="131" y="274"/>
                </a:lnTo>
                <a:lnTo>
                  <a:pt x="114" y="296"/>
                </a:lnTo>
                <a:lnTo>
                  <a:pt x="97" y="319"/>
                </a:lnTo>
                <a:lnTo>
                  <a:pt x="83" y="341"/>
                </a:lnTo>
                <a:lnTo>
                  <a:pt x="69" y="366"/>
                </a:lnTo>
                <a:lnTo>
                  <a:pt x="56" y="391"/>
                </a:lnTo>
                <a:lnTo>
                  <a:pt x="44" y="416"/>
                </a:lnTo>
                <a:lnTo>
                  <a:pt x="35" y="442"/>
                </a:lnTo>
                <a:lnTo>
                  <a:pt x="26" y="469"/>
                </a:lnTo>
                <a:lnTo>
                  <a:pt x="17" y="496"/>
                </a:lnTo>
                <a:lnTo>
                  <a:pt x="12" y="524"/>
                </a:lnTo>
                <a:lnTo>
                  <a:pt x="6" y="552"/>
                </a:lnTo>
                <a:lnTo>
                  <a:pt x="3" y="580"/>
                </a:lnTo>
                <a:lnTo>
                  <a:pt x="0" y="609"/>
                </a:lnTo>
                <a:lnTo>
                  <a:pt x="0" y="639"/>
                </a:lnTo>
                <a:lnTo>
                  <a:pt x="0" y="753"/>
                </a:lnTo>
                <a:lnTo>
                  <a:pt x="0" y="753"/>
                </a:lnTo>
                <a:lnTo>
                  <a:pt x="0" y="771"/>
                </a:lnTo>
                <a:lnTo>
                  <a:pt x="1" y="787"/>
                </a:lnTo>
                <a:lnTo>
                  <a:pt x="3" y="802"/>
                </a:lnTo>
                <a:lnTo>
                  <a:pt x="5" y="816"/>
                </a:lnTo>
                <a:lnTo>
                  <a:pt x="7" y="829"/>
                </a:lnTo>
                <a:lnTo>
                  <a:pt x="11" y="841"/>
                </a:lnTo>
                <a:lnTo>
                  <a:pt x="15" y="852"/>
                </a:lnTo>
                <a:lnTo>
                  <a:pt x="19" y="861"/>
                </a:lnTo>
                <a:lnTo>
                  <a:pt x="25" y="870"/>
                </a:lnTo>
                <a:lnTo>
                  <a:pt x="30" y="878"/>
                </a:lnTo>
                <a:lnTo>
                  <a:pt x="37" y="885"/>
                </a:lnTo>
                <a:lnTo>
                  <a:pt x="43" y="891"/>
                </a:lnTo>
                <a:lnTo>
                  <a:pt x="50" y="896"/>
                </a:lnTo>
                <a:lnTo>
                  <a:pt x="57" y="899"/>
                </a:lnTo>
                <a:lnTo>
                  <a:pt x="65" y="902"/>
                </a:lnTo>
                <a:lnTo>
                  <a:pt x="73" y="905"/>
                </a:lnTo>
                <a:lnTo>
                  <a:pt x="81" y="907"/>
                </a:lnTo>
                <a:lnTo>
                  <a:pt x="90" y="907"/>
                </a:lnTo>
                <a:lnTo>
                  <a:pt x="100" y="907"/>
                </a:lnTo>
                <a:lnTo>
                  <a:pt x="108" y="906"/>
                </a:lnTo>
                <a:lnTo>
                  <a:pt x="118" y="904"/>
                </a:lnTo>
                <a:lnTo>
                  <a:pt x="128" y="901"/>
                </a:lnTo>
                <a:lnTo>
                  <a:pt x="148" y="894"/>
                </a:lnTo>
                <a:lnTo>
                  <a:pt x="170" y="884"/>
                </a:lnTo>
                <a:lnTo>
                  <a:pt x="191" y="871"/>
                </a:lnTo>
                <a:lnTo>
                  <a:pt x="213" y="855"/>
                </a:lnTo>
                <a:lnTo>
                  <a:pt x="235" y="838"/>
                </a:lnTo>
                <a:lnTo>
                  <a:pt x="235" y="838"/>
                </a:lnTo>
                <a:lnTo>
                  <a:pt x="284" y="794"/>
                </a:lnTo>
                <a:lnTo>
                  <a:pt x="334" y="752"/>
                </a:lnTo>
                <a:lnTo>
                  <a:pt x="359" y="732"/>
                </a:lnTo>
                <a:lnTo>
                  <a:pt x="384" y="711"/>
                </a:lnTo>
                <a:lnTo>
                  <a:pt x="410" y="693"/>
                </a:lnTo>
                <a:lnTo>
                  <a:pt x="436" y="674"/>
                </a:lnTo>
                <a:lnTo>
                  <a:pt x="463" y="658"/>
                </a:lnTo>
                <a:lnTo>
                  <a:pt x="491" y="643"/>
                </a:lnTo>
                <a:lnTo>
                  <a:pt x="519" y="629"/>
                </a:lnTo>
                <a:lnTo>
                  <a:pt x="548" y="618"/>
                </a:lnTo>
                <a:lnTo>
                  <a:pt x="579" y="608"/>
                </a:lnTo>
                <a:lnTo>
                  <a:pt x="595" y="605"/>
                </a:lnTo>
                <a:lnTo>
                  <a:pt x="611" y="602"/>
                </a:lnTo>
                <a:lnTo>
                  <a:pt x="628" y="600"/>
                </a:lnTo>
                <a:lnTo>
                  <a:pt x="644" y="598"/>
                </a:lnTo>
                <a:lnTo>
                  <a:pt x="661" y="596"/>
                </a:lnTo>
                <a:lnTo>
                  <a:pt x="678" y="596"/>
                </a:lnTo>
                <a:lnTo>
                  <a:pt x="678" y="596"/>
                </a:lnTo>
                <a:lnTo>
                  <a:pt x="695" y="596"/>
                </a:lnTo>
                <a:lnTo>
                  <a:pt x="712" y="598"/>
                </a:lnTo>
                <a:lnTo>
                  <a:pt x="728" y="600"/>
                </a:lnTo>
                <a:lnTo>
                  <a:pt x="745" y="602"/>
                </a:lnTo>
                <a:lnTo>
                  <a:pt x="761" y="605"/>
                </a:lnTo>
                <a:lnTo>
                  <a:pt x="776" y="608"/>
                </a:lnTo>
                <a:lnTo>
                  <a:pt x="808" y="618"/>
                </a:lnTo>
                <a:lnTo>
                  <a:pt x="837" y="629"/>
                </a:lnTo>
                <a:lnTo>
                  <a:pt x="865" y="643"/>
                </a:lnTo>
                <a:lnTo>
                  <a:pt x="893" y="658"/>
                </a:lnTo>
                <a:lnTo>
                  <a:pt x="919" y="674"/>
                </a:lnTo>
                <a:lnTo>
                  <a:pt x="946" y="693"/>
                </a:lnTo>
                <a:lnTo>
                  <a:pt x="972" y="711"/>
                </a:lnTo>
                <a:lnTo>
                  <a:pt x="997" y="732"/>
                </a:lnTo>
                <a:lnTo>
                  <a:pt x="1022" y="752"/>
                </a:lnTo>
                <a:lnTo>
                  <a:pt x="1071" y="794"/>
                </a:lnTo>
                <a:lnTo>
                  <a:pt x="1121" y="838"/>
                </a:lnTo>
                <a:lnTo>
                  <a:pt x="1121" y="838"/>
                </a:lnTo>
                <a:lnTo>
                  <a:pt x="1143" y="855"/>
                </a:lnTo>
                <a:lnTo>
                  <a:pt x="1164" y="871"/>
                </a:lnTo>
                <a:lnTo>
                  <a:pt x="1186" y="884"/>
                </a:lnTo>
                <a:lnTo>
                  <a:pt x="1208" y="894"/>
                </a:lnTo>
                <a:lnTo>
                  <a:pt x="1228" y="901"/>
                </a:lnTo>
                <a:lnTo>
                  <a:pt x="1238" y="904"/>
                </a:lnTo>
                <a:lnTo>
                  <a:pt x="1248" y="906"/>
                </a:lnTo>
                <a:lnTo>
                  <a:pt x="1256" y="907"/>
                </a:lnTo>
                <a:lnTo>
                  <a:pt x="1266" y="907"/>
                </a:lnTo>
                <a:lnTo>
                  <a:pt x="1275" y="907"/>
                </a:lnTo>
                <a:lnTo>
                  <a:pt x="1283" y="905"/>
                </a:lnTo>
                <a:lnTo>
                  <a:pt x="1291" y="902"/>
                </a:lnTo>
                <a:lnTo>
                  <a:pt x="1299" y="899"/>
                </a:lnTo>
                <a:lnTo>
                  <a:pt x="1306" y="896"/>
                </a:lnTo>
                <a:lnTo>
                  <a:pt x="1313" y="891"/>
                </a:lnTo>
                <a:lnTo>
                  <a:pt x="1319" y="885"/>
                </a:lnTo>
                <a:lnTo>
                  <a:pt x="1326" y="878"/>
                </a:lnTo>
                <a:lnTo>
                  <a:pt x="1331" y="870"/>
                </a:lnTo>
                <a:lnTo>
                  <a:pt x="1337" y="861"/>
                </a:lnTo>
                <a:lnTo>
                  <a:pt x="1341" y="852"/>
                </a:lnTo>
                <a:lnTo>
                  <a:pt x="1344" y="841"/>
                </a:lnTo>
                <a:lnTo>
                  <a:pt x="1349" y="829"/>
                </a:lnTo>
                <a:lnTo>
                  <a:pt x="1351" y="816"/>
                </a:lnTo>
                <a:lnTo>
                  <a:pt x="1353" y="802"/>
                </a:lnTo>
                <a:lnTo>
                  <a:pt x="1355" y="787"/>
                </a:lnTo>
                <a:lnTo>
                  <a:pt x="1356" y="771"/>
                </a:lnTo>
                <a:lnTo>
                  <a:pt x="1356" y="753"/>
                </a:lnTo>
                <a:lnTo>
                  <a:pt x="1356" y="639"/>
                </a:lnTo>
                <a:lnTo>
                  <a:pt x="1356" y="639"/>
                </a:lnTo>
                <a:lnTo>
                  <a:pt x="1355" y="609"/>
                </a:lnTo>
                <a:lnTo>
                  <a:pt x="1353" y="580"/>
                </a:lnTo>
                <a:lnTo>
                  <a:pt x="1350" y="552"/>
                </a:lnTo>
                <a:lnTo>
                  <a:pt x="1344" y="524"/>
                </a:lnTo>
                <a:lnTo>
                  <a:pt x="1338" y="496"/>
                </a:lnTo>
                <a:lnTo>
                  <a:pt x="1330" y="469"/>
                </a:lnTo>
                <a:lnTo>
                  <a:pt x="1322" y="442"/>
                </a:lnTo>
                <a:lnTo>
                  <a:pt x="1311" y="416"/>
                </a:lnTo>
                <a:lnTo>
                  <a:pt x="1300" y="391"/>
                </a:lnTo>
                <a:lnTo>
                  <a:pt x="1287" y="366"/>
                </a:lnTo>
                <a:lnTo>
                  <a:pt x="1273" y="341"/>
                </a:lnTo>
                <a:lnTo>
                  <a:pt x="1259" y="319"/>
                </a:lnTo>
                <a:lnTo>
                  <a:pt x="1242" y="296"/>
                </a:lnTo>
                <a:lnTo>
                  <a:pt x="1225" y="274"/>
                </a:lnTo>
                <a:lnTo>
                  <a:pt x="1207" y="254"/>
                </a:lnTo>
                <a:lnTo>
                  <a:pt x="1188" y="233"/>
                </a:lnTo>
                <a:lnTo>
                  <a:pt x="1168" y="215"/>
                </a:lnTo>
                <a:lnTo>
                  <a:pt x="1147" y="196"/>
                </a:lnTo>
                <a:lnTo>
                  <a:pt x="1125" y="180"/>
                </a:lnTo>
                <a:lnTo>
                  <a:pt x="1103" y="164"/>
                </a:lnTo>
                <a:lnTo>
                  <a:pt x="1080" y="149"/>
                </a:lnTo>
                <a:lnTo>
                  <a:pt x="1056" y="135"/>
                </a:lnTo>
                <a:lnTo>
                  <a:pt x="1031" y="122"/>
                </a:lnTo>
                <a:lnTo>
                  <a:pt x="1005" y="111"/>
                </a:lnTo>
                <a:lnTo>
                  <a:pt x="979" y="100"/>
                </a:lnTo>
                <a:lnTo>
                  <a:pt x="953" y="92"/>
                </a:lnTo>
                <a:lnTo>
                  <a:pt x="925" y="84"/>
                </a:lnTo>
                <a:lnTo>
                  <a:pt x="898" y="77"/>
                </a:lnTo>
                <a:lnTo>
                  <a:pt x="869" y="72"/>
                </a:lnTo>
                <a:lnTo>
                  <a:pt x="840" y="69"/>
                </a:lnTo>
                <a:lnTo>
                  <a:pt x="811" y="67"/>
                </a:lnTo>
                <a:lnTo>
                  <a:pt x="782" y="66"/>
                </a:lnTo>
                <a:lnTo>
                  <a:pt x="782" y="66"/>
                </a:lnTo>
                <a:close/>
                <a:moveTo>
                  <a:pt x="434" y="486"/>
                </a:moveTo>
                <a:lnTo>
                  <a:pt x="393" y="486"/>
                </a:lnTo>
                <a:lnTo>
                  <a:pt x="393" y="486"/>
                </a:lnTo>
                <a:lnTo>
                  <a:pt x="388" y="495"/>
                </a:lnTo>
                <a:lnTo>
                  <a:pt x="382" y="502"/>
                </a:lnTo>
                <a:lnTo>
                  <a:pt x="374" y="509"/>
                </a:lnTo>
                <a:lnTo>
                  <a:pt x="366" y="515"/>
                </a:lnTo>
                <a:lnTo>
                  <a:pt x="366" y="553"/>
                </a:lnTo>
                <a:lnTo>
                  <a:pt x="366" y="553"/>
                </a:lnTo>
                <a:lnTo>
                  <a:pt x="365" y="566"/>
                </a:lnTo>
                <a:lnTo>
                  <a:pt x="362" y="578"/>
                </a:lnTo>
                <a:lnTo>
                  <a:pt x="358" y="589"/>
                </a:lnTo>
                <a:lnTo>
                  <a:pt x="352" y="599"/>
                </a:lnTo>
                <a:lnTo>
                  <a:pt x="346" y="606"/>
                </a:lnTo>
                <a:lnTo>
                  <a:pt x="338" y="612"/>
                </a:lnTo>
                <a:lnTo>
                  <a:pt x="329" y="616"/>
                </a:lnTo>
                <a:lnTo>
                  <a:pt x="325" y="617"/>
                </a:lnTo>
                <a:lnTo>
                  <a:pt x="320" y="617"/>
                </a:lnTo>
                <a:lnTo>
                  <a:pt x="320" y="617"/>
                </a:lnTo>
                <a:lnTo>
                  <a:pt x="315" y="617"/>
                </a:lnTo>
                <a:lnTo>
                  <a:pt x="311" y="616"/>
                </a:lnTo>
                <a:lnTo>
                  <a:pt x="302" y="612"/>
                </a:lnTo>
                <a:lnTo>
                  <a:pt x="295" y="606"/>
                </a:lnTo>
                <a:lnTo>
                  <a:pt x="287" y="599"/>
                </a:lnTo>
                <a:lnTo>
                  <a:pt x="282" y="589"/>
                </a:lnTo>
                <a:lnTo>
                  <a:pt x="277" y="578"/>
                </a:lnTo>
                <a:lnTo>
                  <a:pt x="275" y="566"/>
                </a:lnTo>
                <a:lnTo>
                  <a:pt x="274" y="553"/>
                </a:lnTo>
                <a:lnTo>
                  <a:pt x="274" y="515"/>
                </a:lnTo>
                <a:lnTo>
                  <a:pt x="274" y="515"/>
                </a:lnTo>
                <a:lnTo>
                  <a:pt x="265" y="509"/>
                </a:lnTo>
                <a:lnTo>
                  <a:pt x="258" y="502"/>
                </a:lnTo>
                <a:lnTo>
                  <a:pt x="251" y="495"/>
                </a:lnTo>
                <a:lnTo>
                  <a:pt x="246" y="486"/>
                </a:lnTo>
                <a:lnTo>
                  <a:pt x="206" y="486"/>
                </a:lnTo>
                <a:lnTo>
                  <a:pt x="206" y="486"/>
                </a:lnTo>
                <a:lnTo>
                  <a:pt x="193" y="485"/>
                </a:lnTo>
                <a:lnTo>
                  <a:pt x="181" y="482"/>
                </a:lnTo>
                <a:lnTo>
                  <a:pt x="170" y="478"/>
                </a:lnTo>
                <a:lnTo>
                  <a:pt x="161" y="472"/>
                </a:lnTo>
                <a:lnTo>
                  <a:pt x="153" y="466"/>
                </a:lnTo>
                <a:lnTo>
                  <a:pt x="147" y="458"/>
                </a:lnTo>
                <a:lnTo>
                  <a:pt x="144" y="449"/>
                </a:lnTo>
                <a:lnTo>
                  <a:pt x="143" y="445"/>
                </a:lnTo>
                <a:lnTo>
                  <a:pt x="142" y="440"/>
                </a:lnTo>
                <a:lnTo>
                  <a:pt x="142" y="440"/>
                </a:lnTo>
                <a:lnTo>
                  <a:pt x="143" y="435"/>
                </a:lnTo>
                <a:lnTo>
                  <a:pt x="144" y="431"/>
                </a:lnTo>
                <a:lnTo>
                  <a:pt x="147" y="422"/>
                </a:lnTo>
                <a:lnTo>
                  <a:pt x="153" y="415"/>
                </a:lnTo>
                <a:lnTo>
                  <a:pt x="161" y="407"/>
                </a:lnTo>
                <a:lnTo>
                  <a:pt x="170" y="402"/>
                </a:lnTo>
                <a:lnTo>
                  <a:pt x="181" y="398"/>
                </a:lnTo>
                <a:lnTo>
                  <a:pt x="193" y="395"/>
                </a:lnTo>
                <a:lnTo>
                  <a:pt x="206" y="394"/>
                </a:lnTo>
                <a:lnTo>
                  <a:pt x="250" y="394"/>
                </a:lnTo>
                <a:lnTo>
                  <a:pt x="250" y="394"/>
                </a:lnTo>
                <a:lnTo>
                  <a:pt x="256" y="388"/>
                </a:lnTo>
                <a:lnTo>
                  <a:pt x="261" y="382"/>
                </a:lnTo>
                <a:lnTo>
                  <a:pt x="268" y="377"/>
                </a:lnTo>
                <a:lnTo>
                  <a:pt x="274" y="372"/>
                </a:lnTo>
                <a:lnTo>
                  <a:pt x="274" y="326"/>
                </a:lnTo>
                <a:lnTo>
                  <a:pt x="274" y="326"/>
                </a:lnTo>
                <a:lnTo>
                  <a:pt x="275" y="313"/>
                </a:lnTo>
                <a:lnTo>
                  <a:pt x="277" y="301"/>
                </a:lnTo>
                <a:lnTo>
                  <a:pt x="282" y="290"/>
                </a:lnTo>
                <a:lnTo>
                  <a:pt x="287" y="282"/>
                </a:lnTo>
                <a:lnTo>
                  <a:pt x="295" y="274"/>
                </a:lnTo>
                <a:lnTo>
                  <a:pt x="302" y="268"/>
                </a:lnTo>
                <a:lnTo>
                  <a:pt x="311" y="265"/>
                </a:lnTo>
                <a:lnTo>
                  <a:pt x="315" y="263"/>
                </a:lnTo>
                <a:lnTo>
                  <a:pt x="320" y="262"/>
                </a:lnTo>
                <a:lnTo>
                  <a:pt x="320" y="262"/>
                </a:lnTo>
                <a:lnTo>
                  <a:pt x="325" y="263"/>
                </a:lnTo>
                <a:lnTo>
                  <a:pt x="329" y="265"/>
                </a:lnTo>
                <a:lnTo>
                  <a:pt x="338" y="268"/>
                </a:lnTo>
                <a:lnTo>
                  <a:pt x="346" y="274"/>
                </a:lnTo>
                <a:lnTo>
                  <a:pt x="352" y="282"/>
                </a:lnTo>
                <a:lnTo>
                  <a:pt x="358" y="290"/>
                </a:lnTo>
                <a:lnTo>
                  <a:pt x="362" y="301"/>
                </a:lnTo>
                <a:lnTo>
                  <a:pt x="365" y="313"/>
                </a:lnTo>
                <a:lnTo>
                  <a:pt x="366" y="326"/>
                </a:lnTo>
                <a:lnTo>
                  <a:pt x="366" y="372"/>
                </a:lnTo>
                <a:lnTo>
                  <a:pt x="366" y="372"/>
                </a:lnTo>
                <a:lnTo>
                  <a:pt x="373" y="377"/>
                </a:lnTo>
                <a:lnTo>
                  <a:pt x="378" y="382"/>
                </a:lnTo>
                <a:lnTo>
                  <a:pt x="385" y="388"/>
                </a:lnTo>
                <a:lnTo>
                  <a:pt x="389" y="394"/>
                </a:lnTo>
                <a:lnTo>
                  <a:pt x="434" y="394"/>
                </a:lnTo>
                <a:lnTo>
                  <a:pt x="434" y="394"/>
                </a:lnTo>
                <a:lnTo>
                  <a:pt x="447" y="395"/>
                </a:lnTo>
                <a:lnTo>
                  <a:pt x="458" y="398"/>
                </a:lnTo>
                <a:lnTo>
                  <a:pt x="469" y="402"/>
                </a:lnTo>
                <a:lnTo>
                  <a:pt x="479" y="407"/>
                </a:lnTo>
                <a:lnTo>
                  <a:pt x="487" y="415"/>
                </a:lnTo>
                <a:lnTo>
                  <a:pt x="492" y="422"/>
                </a:lnTo>
                <a:lnTo>
                  <a:pt x="496" y="431"/>
                </a:lnTo>
                <a:lnTo>
                  <a:pt x="498" y="435"/>
                </a:lnTo>
                <a:lnTo>
                  <a:pt x="498" y="440"/>
                </a:lnTo>
                <a:lnTo>
                  <a:pt x="498" y="440"/>
                </a:lnTo>
                <a:lnTo>
                  <a:pt x="498" y="445"/>
                </a:lnTo>
                <a:lnTo>
                  <a:pt x="496" y="449"/>
                </a:lnTo>
                <a:lnTo>
                  <a:pt x="492" y="458"/>
                </a:lnTo>
                <a:lnTo>
                  <a:pt x="487" y="466"/>
                </a:lnTo>
                <a:lnTo>
                  <a:pt x="479" y="472"/>
                </a:lnTo>
                <a:lnTo>
                  <a:pt x="469" y="478"/>
                </a:lnTo>
                <a:lnTo>
                  <a:pt x="458" y="482"/>
                </a:lnTo>
                <a:lnTo>
                  <a:pt x="447" y="485"/>
                </a:lnTo>
                <a:lnTo>
                  <a:pt x="434" y="486"/>
                </a:lnTo>
                <a:lnTo>
                  <a:pt x="434" y="486"/>
                </a:lnTo>
                <a:close/>
                <a:moveTo>
                  <a:pt x="908" y="436"/>
                </a:moveTo>
                <a:lnTo>
                  <a:pt x="908" y="436"/>
                </a:lnTo>
                <a:lnTo>
                  <a:pt x="901" y="445"/>
                </a:lnTo>
                <a:lnTo>
                  <a:pt x="892" y="452"/>
                </a:lnTo>
                <a:lnTo>
                  <a:pt x="882" y="457"/>
                </a:lnTo>
                <a:lnTo>
                  <a:pt x="872" y="460"/>
                </a:lnTo>
                <a:lnTo>
                  <a:pt x="861" y="461"/>
                </a:lnTo>
                <a:lnTo>
                  <a:pt x="850" y="460"/>
                </a:lnTo>
                <a:lnTo>
                  <a:pt x="839" y="457"/>
                </a:lnTo>
                <a:lnTo>
                  <a:pt x="829" y="452"/>
                </a:lnTo>
                <a:lnTo>
                  <a:pt x="829" y="452"/>
                </a:lnTo>
                <a:lnTo>
                  <a:pt x="821" y="444"/>
                </a:lnTo>
                <a:lnTo>
                  <a:pt x="813" y="435"/>
                </a:lnTo>
                <a:lnTo>
                  <a:pt x="809" y="426"/>
                </a:lnTo>
                <a:lnTo>
                  <a:pt x="805" y="416"/>
                </a:lnTo>
                <a:lnTo>
                  <a:pt x="804" y="405"/>
                </a:lnTo>
                <a:lnTo>
                  <a:pt x="805" y="393"/>
                </a:lnTo>
                <a:lnTo>
                  <a:pt x="809" y="383"/>
                </a:lnTo>
                <a:lnTo>
                  <a:pt x="814" y="373"/>
                </a:lnTo>
                <a:lnTo>
                  <a:pt x="814" y="373"/>
                </a:lnTo>
                <a:lnTo>
                  <a:pt x="822" y="364"/>
                </a:lnTo>
                <a:lnTo>
                  <a:pt x="830" y="358"/>
                </a:lnTo>
                <a:lnTo>
                  <a:pt x="840" y="352"/>
                </a:lnTo>
                <a:lnTo>
                  <a:pt x="850" y="349"/>
                </a:lnTo>
                <a:lnTo>
                  <a:pt x="861" y="348"/>
                </a:lnTo>
                <a:lnTo>
                  <a:pt x="872" y="349"/>
                </a:lnTo>
                <a:lnTo>
                  <a:pt x="882" y="352"/>
                </a:lnTo>
                <a:lnTo>
                  <a:pt x="892" y="358"/>
                </a:lnTo>
                <a:lnTo>
                  <a:pt x="892" y="358"/>
                </a:lnTo>
                <a:lnTo>
                  <a:pt x="902" y="365"/>
                </a:lnTo>
                <a:lnTo>
                  <a:pt x="908" y="374"/>
                </a:lnTo>
                <a:lnTo>
                  <a:pt x="914" y="383"/>
                </a:lnTo>
                <a:lnTo>
                  <a:pt x="917" y="393"/>
                </a:lnTo>
                <a:lnTo>
                  <a:pt x="918" y="405"/>
                </a:lnTo>
                <a:lnTo>
                  <a:pt x="917" y="416"/>
                </a:lnTo>
                <a:lnTo>
                  <a:pt x="914" y="426"/>
                </a:lnTo>
                <a:lnTo>
                  <a:pt x="908" y="436"/>
                </a:lnTo>
                <a:lnTo>
                  <a:pt x="908" y="436"/>
                </a:lnTo>
                <a:close/>
                <a:moveTo>
                  <a:pt x="904" y="239"/>
                </a:moveTo>
                <a:lnTo>
                  <a:pt x="904" y="239"/>
                </a:lnTo>
                <a:lnTo>
                  <a:pt x="912" y="230"/>
                </a:lnTo>
                <a:lnTo>
                  <a:pt x="920" y="222"/>
                </a:lnTo>
                <a:lnTo>
                  <a:pt x="930" y="218"/>
                </a:lnTo>
                <a:lnTo>
                  <a:pt x="941" y="215"/>
                </a:lnTo>
                <a:lnTo>
                  <a:pt x="952" y="214"/>
                </a:lnTo>
                <a:lnTo>
                  <a:pt x="963" y="215"/>
                </a:lnTo>
                <a:lnTo>
                  <a:pt x="973" y="218"/>
                </a:lnTo>
                <a:lnTo>
                  <a:pt x="983" y="223"/>
                </a:lnTo>
                <a:lnTo>
                  <a:pt x="983" y="223"/>
                </a:lnTo>
                <a:lnTo>
                  <a:pt x="992" y="231"/>
                </a:lnTo>
                <a:lnTo>
                  <a:pt x="1000" y="240"/>
                </a:lnTo>
                <a:lnTo>
                  <a:pt x="1004" y="249"/>
                </a:lnTo>
                <a:lnTo>
                  <a:pt x="1007" y="259"/>
                </a:lnTo>
                <a:lnTo>
                  <a:pt x="1008" y="270"/>
                </a:lnTo>
                <a:lnTo>
                  <a:pt x="1007" y="281"/>
                </a:lnTo>
                <a:lnTo>
                  <a:pt x="1004" y="292"/>
                </a:lnTo>
                <a:lnTo>
                  <a:pt x="998" y="302"/>
                </a:lnTo>
                <a:lnTo>
                  <a:pt x="998" y="302"/>
                </a:lnTo>
                <a:lnTo>
                  <a:pt x="991" y="311"/>
                </a:lnTo>
                <a:lnTo>
                  <a:pt x="982" y="318"/>
                </a:lnTo>
                <a:lnTo>
                  <a:pt x="972" y="323"/>
                </a:lnTo>
                <a:lnTo>
                  <a:pt x="963" y="326"/>
                </a:lnTo>
                <a:lnTo>
                  <a:pt x="952" y="327"/>
                </a:lnTo>
                <a:lnTo>
                  <a:pt x="941" y="326"/>
                </a:lnTo>
                <a:lnTo>
                  <a:pt x="930" y="323"/>
                </a:lnTo>
                <a:lnTo>
                  <a:pt x="920" y="318"/>
                </a:lnTo>
                <a:lnTo>
                  <a:pt x="920" y="318"/>
                </a:lnTo>
                <a:lnTo>
                  <a:pt x="911" y="310"/>
                </a:lnTo>
                <a:lnTo>
                  <a:pt x="904" y="301"/>
                </a:lnTo>
                <a:lnTo>
                  <a:pt x="899" y="292"/>
                </a:lnTo>
                <a:lnTo>
                  <a:pt x="895" y="281"/>
                </a:lnTo>
                <a:lnTo>
                  <a:pt x="894" y="270"/>
                </a:lnTo>
                <a:lnTo>
                  <a:pt x="895" y="259"/>
                </a:lnTo>
                <a:lnTo>
                  <a:pt x="899" y="248"/>
                </a:lnTo>
                <a:lnTo>
                  <a:pt x="904" y="239"/>
                </a:lnTo>
                <a:lnTo>
                  <a:pt x="904" y="239"/>
                </a:lnTo>
                <a:close/>
                <a:moveTo>
                  <a:pt x="1033" y="521"/>
                </a:moveTo>
                <a:lnTo>
                  <a:pt x="1033" y="521"/>
                </a:lnTo>
                <a:lnTo>
                  <a:pt x="1027" y="529"/>
                </a:lnTo>
                <a:lnTo>
                  <a:pt x="1018" y="536"/>
                </a:lnTo>
                <a:lnTo>
                  <a:pt x="1008" y="541"/>
                </a:lnTo>
                <a:lnTo>
                  <a:pt x="997" y="545"/>
                </a:lnTo>
                <a:lnTo>
                  <a:pt x="987" y="546"/>
                </a:lnTo>
                <a:lnTo>
                  <a:pt x="976" y="545"/>
                </a:lnTo>
                <a:lnTo>
                  <a:pt x="965" y="541"/>
                </a:lnTo>
                <a:lnTo>
                  <a:pt x="955" y="536"/>
                </a:lnTo>
                <a:lnTo>
                  <a:pt x="955" y="536"/>
                </a:lnTo>
                <a:lnTo>
                  <a:pt x="946" y="528"/>
                </a:lnTo>
                <a:lnTo>
                  <a:pt x="939" y="520"/>
                </a:lnTo>
                <a:lnTo>
                  <a:pt x="933" y="510"/>
                </a:lnTo>
                <a:lnTo>
                  <a:pt x="931" y="500"/>
                </a:lnTo>
                <a:lnTo>
                  <a:pt x="930" y="489"/>
                </a:lnTo>
                <a:lnTo>
                  <a:pt x="931" y="479"/>
                </a:lnTo>
                <a:lnTo>
                  <a:pt x="934" y="468"/>
                </a:lnTo>
                <a:lnTo>
                  <a:pt x="940" y="457"/>
                </a:lnTo>
                <a:lnTo>
                  <a:pt x="940" y="457"/>
                </a:lnTo>
                <a:lnTo>
                  <a:pt x="946" y="448"/>
                </a:lnTo>
                <a:lnTo>
                  <a:pt x="955" y="442"/>
                </a:lnTo>
                <a:lnTo>
                  <a:pt x="965" y="436"/>
                </a:lnTo>
                <a:lnTo>
                  <a:pt x="976" y="433"/>
                </a:lnTo>
                <a:lnTo>
                  <a:pt x="987" y="432"/>
                </a:lnTo>
                <a:lnTo>
                  <a:pt x="997" y="433"/>
                </a:lnTo>
                <a:lnTo>
                  <a:pt x="1008" y="436"/>
                </a:lnTo>
                <a:lnTo>
                  <a:pt x="1018" y="442"/>
                </a:lnTo>
                <a:lnTo>
                  <a:pt x="1018" y="442"/>
                </a:lnTo>
                <a:lnTo>
                  <a:pt x="1027" y="449"/>
                </a:lnTo>
                <a:lnTo>
                  <a:pt x="1034" y="458"/>
                </a:lnTo>
                <a:lnTo>
                  <a:pt x="1040" y="468"/>
                </a:lnTo>
                <a:lnTo>
                  <a:pt x="1042" y="479"/>
                </a:lnTo>
                <a:lnTo>
                  <a:pt x="1043" y="489"/>
                </a:lnTo>
                <a:lnTo>
                  <a:pt x="1042" y="500"/>
                </a:lnTo>
                <a:lnTo>
                  <a:pt x="1039" y="510"/>
                </a:lnTo>
                <a:lnTo>
                  <a:pt x="1033" y="521"/>
                </a:lnTo>
                <a:lnTo>
                  <a:pt x="1033" y="521"/>
                </a:lnTo>
                <a:close/>
                <a:moveTo>
                  <a:pt x="1124" y="387"/>
                </a:moveTo>
                <a:lnTo>
                  <a:pt x="1124" y="387"/>
                </a:lnTo>
                <a:lnTo>
                  <a:pt x="1117" y="395"/>
                </a:lnTo>
                <a:lnTo>
                  <a:pt x="1108" y="402"/>
                </a:lnTo>
                <a:lnTo>
                  <a:pt x="1098" y="407"/>
                </a:lnTo>
                <a:lnTo>
                  <a:pt x="1088" y="410"/>
                </a:lnTo>
                <a:lnTo>
                  <a:pt x="1078" y="412"/>
                </a:lnTo>
                <a:lnTo>
                  <a:pt x="1067" y="410"/>
                </a:lnTo>
                <a:lnTo>
                  <a:pt x="1056" y="407"/>
                </a:lnTo>
                <a:lnTo>
                  <a:pt x="1045" y="402"/>
                </a:lnTo>
                <a:lnTo>
                  <a:pt x="1045" y="402"/>
                </a:lnTo>
                <a:lnTo>
                  <a:pt x="1036" y="394"/>
                </a:lnTo>
                <a:lnTo>
                  <a:pt x="1030" y="386"/>
                </a:lnTo>
                <a:lnTo>
                  <a:pt x="1024" y="376"/>
                </a:lnTo>
                <a:lnTo>
                  <a:pt x="1021" y="365"/>
                </a:lnTo>
                <a:lnTo>
                  <a:pt x="1020" y="354"/>
                </a:lnTo>
                <a:lnTo>
                  <a:pt x="1021" y="343"/>
                </a:lnTo>
                <a:lnTo>
                  <a:pt x="1024" y="334"/>
                </a:lnTo>
                <a:lnTo>
                  <a:pt x="1030" y="323"/>
                </a:lnTo>
                <a:lnTo>
                  <a:pt x="1030" y="323"/>
                </a:lnTo>
                <a:lnTo>
                  <a:pt x="1037" y="314"/>
                </a:lnTo>
                <a:lnTo>
                  <a:pt x="1046" y="308"/>
                </a:lnTo>
                <a:lnTo>
                  <a:pt x="1056" y="302"/>
                </a:lnTo>
                <a:lnTo>
                  <a:pt x="1067" y="299"/>
                </a:lnTo>
                <a:lnTo>
                  <a:pt x="1078" y="298"/>
                </a:lnTo>
                <a:lnTo>
                  <a:pt x="1088" y="299"/>
                </a:lnTo>
                <a:lnTo>
                  <a:pt x="1099" y="302"/>
                </a:lnTo>
                <a:lnTo>
                  <a:pt x="1109" y="308"/>
                </a:lnTo>
                <a:lnTo>
                  <a:pt x="1109" y="308"/>
                </a:lnTo>
                <a:lnTo>
                  <a:pt x="1118" y="315"/>
                </a:lnTo>
                <a:lnTo>
                  <a:pt x="1125" y="324"/>
                </a:lnTo>
                <a:lnTo>
                  <a:pt x="1130" y="334"/>
                </a:lnTo>
                <a:lnTo>
                  <a:pt x="1133" y="343"/>
                </a:lnTo>
                <a:lnTo>
                  <a:pt x="1134" y="354"/>
                </a:lnTo>
                <a:lnTo>
                  <a:pt x="1133" y="366"/>
                </a:lnTo>
                <a:lnTo>
                  <a:pt x="1130" y="376"/>
                </a:lnTo>
                <a:lnTo>
                  <a:pt x="1124" y="387"/>
                </a:lnTo>
                <a:lnTo>
                  <a:pt x="1124" y="387"/>
                </a:lnTo>
                <a:close/>
                <a:moveTo>
                  <a:pt x="1250" y="471"/>
                </a:moveTo>
                <a:lnTo>
                  <a:pt x="1250" y="471"/>
                </a:lnTo>
                <a:lnTo>
                  <a:pt x="1242" y="480"/>
                </a:lnTo>
                <a:lnTo>
                  <a:pt x="1234" y="486"/>
                </a:lnTo>
                <a:lnTo>
                  <a:pt x="1224" y="492"/>
                </a:lnTo>
                <a:lnTo>
                  <a:pt x="1214" y="495"/>
                </a:lnTo>
                <a:lnTo>
                  <a:pt x="1203" y="496"/>
                </a:lnTo>
                <a:lnTo>
                  <a:pt x="1191" y="495"/>
                </a:lnTo>
                <a:lnTo>
                  <a:pt x="1182" y="492"/>
                </a:lnTo>
                <a:lnTo>
                  <a:pt x="1171" y="486"/>
                </a:lnTo>
                <a:lnTo>
                  <a:pt x="1171" y="486"/>
                </a:lnTo>
                <a:lnTo>
                  <a:pt x="1162" y="479"/>
                </a:lnTo>
                <a:lnTo>
                  <a:pt x="1156" y="470"/>
                </a:lnTo>
                <a:lnTo>
                  <a:pt x="1150" y="460"/>
                </a:lnTo>
                <a:lnTo>
                  <a:pt x="1147" y="451"/>
                </a:lnTo>
                <a:lnTo>
                  <a:pt x="1146" y="440"/>
                </a:lnTo>
                <a:lnTo>
                  <a:pt x="1147" y="428"/>
                </a:lnTo>
                <a:lnTo>
                  <a:pt x="1150" y="418"/>
                </a:lnTo>
                <a:lnTo>
                  <a:pt x="1156" y="407"/>
                </a:lnTo>
                <a:lnTo>
                  <a:pt x="1156" y="407"/>
                </a:lnTo>
                <a:lnTo>
                  <a:pt x="1163" y="399"/>
                </a:lnTo>
                <a:lnTo>
                  <a:pt x="1172" y="392"/>
                </a:lnTo>
                <a:lnTo>
                  <a:pt x="1182" y="387"/>
                </a:lnTo>
                <a:lnTo>
                  <a:pt x="1191" y="383"/>
                </a:lnTo>
                <a:lnTo>
                  <a:pt x="1202" y="382"/>
                </a:lnTo>
                <a:lnTo>
                  <a:pt x="1214" y="383"/>
                </a:lnTo>
                <a:lnTo>
                  <a:pt x="1224" y="387"/>
                </a:lnTo>
                <a:lnTo>
                  <a:pt x="1235" y="392"/>
                </a:lnTo>
                <a:lnTo>
                  <a:pt x="1235" y="392"/>
                </a:lnTo>
                <a:lnTo>
                  <a:pt x="1243" y="400"/>
                </a:lnTo>
                <a:lnTo>
                  <a:pt x="1250" y="408"/>
                </a:lnTo>
                <a:lnTo>
                  <a:pt x="1255" y="418"/>
                </a:lnTo>
                <a:lnTo>
                  <a:pt x="1259" y="428"/>
                </a:lnTo>
                <a:lnTo>
                  <a:pt x="1260" y="439"/>
                </a:lnTo>
                <a:lnTo>
                  <a:pt x="1259" y="451"/>
                </a:lnTo>
                <a:lnTo>
                  <a:pt x="1255" y="460"/>
                </a:lnTo>
                <a:lnTo>
                  <a:pt x="1250" y="471"/>
                </a:lnTo>
                <a:lnTo>
                  <a:pt x="1250" y="47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4937377" y="963128"/>
            <a:ext cx="3851189" cy="5924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300"/>
              </a:spcAft>
            </a:pPr>
            <a:r>
              <a:rPr lang="en-US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=</a:t>
            </a:r>
            <a:r>
              <a:rPr lang="en-US" sz="1200" b="1" dirty="0" smtClean="0">
                <a:solidFill>
                  <a:srgbClr val="0070C0"/>
                </a:solidFill>
                <a:latin typeface="Georgia" panose="02040502050405020303" pitchFamily="18" charset="0"/>
              </a:rPr>
              <a:t>SUMIF</a:t>
            </a:r>
            <a:r>
              <a:rPr lang="en-US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(</a:t>
            </a:r>
            <a:r>
              <a:rPr lang="en-US" sz="1200" dirty="0" smtClean="0">
                <a:solidFill>
                  <a:srgbClr val="FF0066"/>
                </a:solidFill>
                <a:latin typeface="Georgia" panose="02040502050405020303" pitchFamily="18" charset="0"/>
              </a:rPr>
              <a:t>range</a:t>
            </a:r>
            <a:r>
              <a:rPr lang="en-US" sz="1200" dirty="0">
                <a:solidFill>
                  <a:srgbClr val="FF0066"/>
                </a:solidFill>
                <a:latin typeface="Georgia" panose="02040502050405020303" pitchFamily="18" charset="0"/>
              </a:rPr>
              <a:t>, </a:t>
            </a:r>
            <a:r>
              <a:rPr lang="en-US" sz="1200" dirty="0">
                <a:solidFill>
                  <a:schemeClr val="bg2"/>
                </a:solidFill>
                <a:latin typeface="Georgia" panose="02040502050405020303" pitchFamily="18" charset="0"/>
              </a:rPr>
              <a:t>criteria,</a:t>
            </a:r>
            <a:r>
              <a:rPr lang="en-US" sz="1200" dirty="0">
                <a:solidFill>
                  <a:srgbClr val="FFC000"/>
                </a:solidFill>
                <a:latin typeface="Georgia" panose="02040502050405020303" pitchFamily="18" charset="0"/>
              </a:rPr>
              <a:t> </a:t>
            </a: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[</a:t>
            </a:r>
            <a:r>
              <a:rPr lang="en-US" sz="1200" dirty="0">
                <a:solidFill>
                  <a:schemeClr val="tx1"/>
                </a:solidFill>
                <a:latin typeface="Georgia" panose="02040502050405020303" pitchFamily="18" charset="0"/>
              </a:rPr>
              <a:t>sum_range</a:t>
            </a: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]</a:t>
            </a:r>
            <a:r>
              <a:rPr lang="en-US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)</a:t>
            </a:r>
            <a:endParaRPr lang="en-US" sz="1200" dirty="0">
              <a:solidFill>
                <a:schemeClr val="bg1"/>
              </a:solidFill>
              <a:latin typeface="Georgia" panose="02040502050405020303" pitchFamily="18" charset="0"/>
            </a:endParaRPr>
          </a:p>
          <a:p>
            <a:pPr>
              <a:spcAft>
                <a:spcPts val="300"/>
              </a:spcAft>
            </a:pPr>
            <a:r>
              <a:rPr lang="en-US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=</a:t>
            </a:r>
            <a:r>
              <a:rPr lang="en-US" sz="1200" b="1" dirty="0" smtClean="0">
                <a:solidFill>
                  <a:srgbClr val="0070C0"/>
                </a:solidFill>
                <a:latin typeface="Georgia" panose="02040502050405020303" pitchFamily="18" charset="0"/>
              </a:rPr>
              <a:t>SUMIFS</a:t>
            </a:r>
            <a:r>
              <a:rPr lang="en-US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(</a:t>
            </a:r>
            <a:r>
              <a:rPr lang="en-US" sz="1200" dirty="0">
                <a:solidFill>
                  <a:schemeClr val="tx1"/>
                </a:solidFill>
                <a:latin typeface="Georgia" panose="02040502050405020303" pitchFamily="18" charset="0"/>
              </a:rPr>
              <a:t>sum_range,</a:t>
            </a:r>
            <a:r>
              <a:rPr lang="en-US" sz="1200" dirty="0">
                <a:solidFill>
                  <a:schemeClr val="accent3"/>
                </a:solidFill>
                <a:latin typeface="Georgia" panose="02040502050405020303" pitchFamily="18" charset="0"/>
              </a:rPr>
              <a:t> </a:t>
            </a:r>
            <a:r>
              <a:rPr lang="en-US" sz="1200" dirty="0" smtClean="0">
                <a:solidFill>
                  <a:srgbClr val="FF0066"/>
                </a:solidFill>
                <a:latin typeface="Georgia" panose="02040502050405020303" pitchFamily="18" charset="0"/>
              </a:rPr>
              <a:t>criteria_range1,</a:t>
            </a:r>
            <a:r>
              <a:rPr lang="en-US" sz="1200" dirty="0" smtClean="0">
                <a:solidFill>
                  <a:schemeClr val="accent3"/>
                </a:solidFill>
                <a:latin typeface="Georgia" panose="02040502050405020303" pitchFamily="18" charset="0"/>
              </a:rPr>
              <a:t> </a:t>
            </a:r>
            <a:r>
              <a:rPr lang="en-US" sz="1200" dirty="0" smtClean="0">
                <a:solidFill>
                  <a:schemeClr val="bg2"/>
                </a:solidFill>
                <a:latin typeface="Georgia" panose="02040502050405020303" pitchFamily="18" charset="0"/>
              </a:rPr>
              <a:t>criteria1</a:t>
            </a:r>
            <a:r>
              <a:rPr lang="en-US" sz="1200" dirty="0">
                <a:solidFill>
                  <a:schemeClr val="bg2"/>
                </a:solidFill>
                <a:latin typeface="Georgia" panose="02040502050405020303" pitchFamily="18" charset="0"/>
              </a:rPr>
              <a:t>,</a:t>
            </a:r>
            <a:r>
              <a:rPr lang="en-US" sz="1200" dirty="0">
                <a:solidFill>
                  <a:schemeClr val="accent3"/>
                </a:solidFill>
                <a:latin typeface="Georgia" panose="02040502050405020303" pitchFamily="18" charset="0"/>
              </a:rPr>
              <a:t> </a:t>
            </a:r>
            <a:r>
              <a:rPr lang="en-US" sz="1200" dirty="0">
                <a:solidFill>
                  <a:schemeClr val="tx2"/>
                </a:solidFill>
                <a:latin typeface="Georgia" panose="02040502050405020303" pitchFamily="18" charset="0"/>
              </a:rPr>
              <a:t>[</a:t>
            </a:r>
            <a:r>
              <a:rPr lang="en-US" sz="1200" dirty="0">
                <a:solidFill>
                  <a:schemeClr val="accent3"/>
                </a:solidFill>
                <a:latin typeface="Georgia" panose="02040502050405020303" pitchFamily="18" charset="0"/>
              </a:rPr>
              <a:t>criteria_range2, </a:t>
            </a:r>
            <a:r>
              <a:rPr lang="en-US" sz="1200" dirty="0">
                <a:solidFill>
                  <a:schemeClr val="bg2"/>
                </a:solidFill>
                <a:latin typeface="Georgia" panose="02040502050405020303" pitchFamily="18" charset="0"/>
              </a:rPr>
              <a:t>criteria2</a:t>
            </a:r>
            <a:r>
              <a:rPr lang="en-US" sz="1200" dirty="0">
                <a:solidFill>
                  <a:schemeClr val="tx2"/>
                </a:solidFill>
                <a:latin typeface="Georgia" panose="02040502050405020303" pitchFamily="18" charset="0"/>
              </a:rPr>
              <a:t>],..</a:t>
            </a:r>
            <a:r>
              <a:rPr lang="en-US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)</a:t>
            </a:r>
            <a:endParaRPr lang="en-US" sz="120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30" name="Oval 29"/>
          <p:cNvSpPr/>
          <p:nvPr/>
        </p:nvSpPr>
        <p:spPr bwMode="ltGray">
          <a:xfrm>
            <a:off x="7845660" y="1043027"/>
            <a:ext cx="137160" cy="137160"/>
          </a:xfrm>
          <a:prstGeom prst="ellipse">
            <a:avLst/>
          </a:prstGeom>
          <a:solidFill>
            <a:srgbClr val="006A51"/>
          </a:solidFill>
          <a:ln w="3175">
            <a:noFill/>
          </a:ln>
          <a:effectLst>
            <a:outerShdw algn="tl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/>
                </a:solidFill>
                <a:latin typeface="Georgia" pitchFamily="18" charset="0"/>
              </a:rPr>
              <a:t>1</a:t>
            </a:r>
          </a:p>
        </p:txBody>
      </p:sp>
      <p:sp>
        <p:nvSpPr>
          <p:cNvPr id="49" name="Oval 48"/>
          <p:cNvSpPr/>
          <p:nvPr/>
        </p:nvSpPr>
        <p:spPr bwMode="ltGray">
          <a:xfrm>
            <a:off x="6310608" y="1568432"/>
            <a:ext cx="137160" cy="137160"/>
          </a:xfrm>
          <a:prstGeom prst="ellipse">
            <a:avLst/>
          </a:prstGeom>
          <a:solidFill>
            <a:srgbClr val="006A51"/>
          </a:solidFill>
          <a:ln w="3175">
            <a:noFill/>
          </a:ln>
          <a:effectLst>
            <a:outerShdw algn="tl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 smtClean="0">
                <a:solidFill>
                  <a:schemeClr val="bg1"/>
                </a:solidFill>
                <a:latin typeface="Georgia" pitchFamily="18" charset="0"/>
              </a:rPr>
              <a:t>2</a:t>
            </a:r>
            <a:endParaRPr lang="en-US" sz="600" dirty="0">
              <a:solidFill>
                <a:schemeClr val="bg1"/>
              </a:solidFill>
              <a:latin typeface="Georgia" pitchFamily="18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251225" y="4851168"/>
            <a:ext cx="2983018" cy="137160"/>
            <a:chOff x="270279" y="4851168"/>
            <a:chExt cx="2983018" cy="137160"/>
          </a:xfrm>
        </p:grpSpPr>
        <p:sp>
          <p:nvSpPr>
            <p:cNvPr id="51" name="TextBox 50"/>
            <p:cNvSpPr txBox="1"/>
            <p:nvPr/>
          </p:nvSpPr>
          <p:spPr>
            <a:xfrm>
              <a:off x="548745" y="4858193"/>
              <a:ext cx="2704552" cy="123111"/>
            </a:xfrm>
            <a:prstGeom prst="rect">
              <a:avLst/>
            </a:prstGeom>
            <a:noFill/>
            <a:effectLst/>
          </p:spPr>
          <p:txBody>
            <a:bodyPr wrap="square" lIns="0" tIns="0" rIns="0" bIns="0" rtlCol="0" anchor="t">
              <a:spAutoFit/>
            </a:bodyPr>
            <a:lstStyle/>
            <a:p>
              <a:pPr indent="-205740">
                <a:spcAft>
                  <a:spcPts val="675"/>
                </a:spcAft>
              </a:pPr>
              <a:r>
                <a:rPr lang="en-US" sz="800" dirty="0">
                  <a:latin typeface="Georgia" pitchFamily="18" charset="0"/>
                </a:rPr>
                <a:t>Numbered for Multiple Criteria Functions</a:t>
              </a:r>
            </a:p>
          </p:txBody>
        </p:sp>
        <p:sp>
          <p:nvSpPr>
            <p:cNvPr id="52" name="Oval 51"/>
            <p:cNvSpPr/>
            <p:nvPr/>
          </p:nvSpPr>
          <p:spPr bwMode="ltGray">
            <a:xfrm>
              <a:off x="270279" y="4851168"/>
              <a:ext cx="137160" cy="137160"/>
            </a:xfrm>
            <a:prstGeom prst="ellipse">
              <a:avLst/>
            </a:prstGeom>
            <a:solidFill>
              <a:srgbClr val="006A51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dirty="0">
                <a:solidFill>
                  <a:srgbClr val="000000"/>
                </a:solidFill>
                <a:latin typeface="Georgia" pitchFamily="18" charset="0"/>
              </a:endParaRPr>
            </a:p>
          </p:txBody>
        </p:sp>
      </p:grpSp>
      <p:sp>
        <p:nvSpPr>
          <p:cNvPr id="58" name="Freeform 211"/>
          <p:cNvSpPr>
            <a:spLocks noEditPoints="1"/>
          </p:cNvSpPr>
          <p:nvPr/>
        </p:nvSpPr>
        <p:spPr bwMode="auto">
          <a:xfrm>
            <a:off x="8563220" y="4359275"/>
            <a:ext cx="225345" cy="377168"/>
          </a:xfrm>
          <a:custGeom>
            <a:avLst/>
            <a:gdLst>
              <a:gd name="T0" fmla="*/ 223 w 512"/>
              <a:gd name="T1" fmla="*/ 95 h 766"/>
              <a:gd name="T2" fmla="*/ 159 w 512"/>
              <a:gd name="T3" fmla="*/ 95 h 766"/>
              <a:gd name="T4" fmla="*/ 159 w 512"/>
              <a:gd name="T5" fmla="*/ 160 h 766"/>
              <a:gd name="T6" fmla="*/ 223 w 512"/>
              <a:gd name="T7" fmla="*/ 160 h 766"/>
              <a:gd name="T8" fmla="*/ 223 w 512"/>
              <a:gd name="T9" fmla="*/ 95 h 766"/>
              <a:gd name="T10" fmla="*/ 352 w 512"/>
              <a:gd name="T11" fmla="*/ 95 h 766"/>
              <a:gd name="T12" fmla="*/ 287 w 512"/>
              <a:gd name="T13" fmla="*/ 95 h 766"/>
              <a:gd name="T14" fmla="*/ 287 w 512"/>
              <a:gd name="T15" fmla="*/ 160 h 766"/>
              <a:gd name="T16" fmla="*/ 352 w 512"/>
              <a:gd name="T17" fmla="*/ 160 h 766"/>
              <a:gd name="T18" fmla="*/ 352 w 512"/>
              <a:gd name="T19" fmla="*/ 95 h 766"/>
              <a:gd name="T20" fmla="*/ 448 w 512"/>
              <a:gd name="T21" fmla="*/ 223 h 766"/>
              <a:gd name="T22" fmla="*/ 448 w 512"/>
              <a:gd name="T23" fmla="*/ 0 h 766"/>
              <a:gd name="T24" fmla="*/ 63 w 512"/>
              <a:gd name="T25" fmla="*/ 0 h 766"/>
              <a:gd name="T26" fmla="*/ 63 w 512"/>
              <a:gd name="T27" fmla="*/ 223 h 766"/>
              <a:gd name="T28" fmla="*/ 63 w 512"/>
              <a:gd name="T29" fmla="*/ 223 h 766"/>
              <a:gd name="T30" fmla="*/ 50 w 512"/>
              <a:gd name="T31" fmla="*/ 224 h 766"/>
              <a:gd name="T32" fmla="*/ 39 w 512"/>
              <a:gd name="T33" fmla="*/ 228 h 766"/>
              <a:gd name="T34" fmla="*/ 27 w 512"/>
              <a:gd name="T35" fmla="*/ 234 h 766"/>
              <a:gd name="T36" fmla="*/ 19 w 512"/>
              <a:gd name="T37" fmla="*/ 241 h 766"/>
              <a:gd name="T38" fmla="*/ 10 w 512"/>
              <a:gd name="T39" fmla="*/ 251 h 766"/>
              <a:gd name="T40" fmla="*/ 4 w 512"/>
              <a:gd name="T41" fmla="*/ 262 h 766"/>
              <a:gd name="T42" fmla="*/ 1 w 512"/>
              <a:gd name="T43" fmla="*/ 274 h 766"/>
              <a:gd name="T44" fmla="*/ 0 w 512"/>
              <a:gd name="T45" fmla="*/ 287 h 766"/>
              <a:gd name="T46" fmla="*/ 0 w 512"/>
              <a:gd name="T47" fmla="*/ 703 h 766"/>
              <a:gd name="T48" fmla="*/ 0 w 512"/>
              <a:gd name="T49" fmla="*/ 703 h 766"/>
              <a:gd name="T50" fmla="*/ 1 w 512"/>
              <a:gd name="T51" fmla="*/ 716 h 766"/>
              <a:gd name="T52" fmla="*/ 4 w 512"/>
              <a:gd name="T53" fmla="*/ 728 h 766"/>
              <a:gd name="T54" fmla="*/ 10 w 512"/>
              <a:gd name="T55" fmla="*/ 739 h 766"/>
              <a:gd name="T56" fmla="*/ 19 w 512"/>
              <a:gd name="T57" fmla="*/ 748 h 766"/>
              <a:gd name="T58" fmla="*/ 27 w 512"/>
              <a:gd name="T59" fmla="*/ 756 h 766"/>
              <a:gd name="T60" fmla="*/ 39 w 512"/>
              <a:gd name="T61" fmla="*/ 762 h 766"/>
              <a:gd name="T62" fmla="*/ 50 w 512"/>
              <a:gd name="T63" fmla="*/ 765 h 766"/>
              <a:gd name="T64" fmla="*/ 63 w 512"/>
              <a:gd name="T65" fmla="*/ 766 h 766"/>
              <a:gd name="T66" fmla="*/ 448 w 512"/>
              <a:gd name="T67" fmla="*/ 766 h 766"/>
              <a:gd name="T68" fmla="*/ 448 w 512"/>
              <a:gd name="T69" fmla="*/ 766 h 766"/>
              <a:gd name="T70" fmla="*/ 460 w 512"/>
              <a:gd name="T71" fmla="*/ 765 h 766"/>
              <a:gd name="T72" fmla="*/ 472 w 512"/>
              <a:gd name="T73" fmla="*/ 762 h 766"/>
              <a:gd name="T74" fmla="*/ 483 w 512"/>
              <a:gd name="T75" fmla="*/ 756 h 766"/>
              <a:gd name="T76" fmla="*/ 492 w 512"/>
              <a:gd name="T77" fmla="*/ 748 h 766"/>
              <a:gd name="T78" fmla="*/ 501 w 512"/>
              <a:gd name="T79" fmla="*/ 739 h 766"/>
              <a:gd name="T80" fmla="*/ 507 w 512"/>
              <a:gd name="T81" fmla="*/ 728 h 766"/>
              <a:gd name="T82" fmla="*/ 510 w 512"/>
              <a:gd name="T83" fmla="*/ 716 h 766"/>
              <a:gd name="T84" fmla="*/ 512 w 512"/>
              <a:gd name="T85" fmla="*/ 703 h 766"/>
              <a:gd name="T86" fmla="*/ 512 w 512"/>
              <a:gd name="T87" fmla="*/ 287 h 766"/>
              <a:gd name="T88" fmla="*/ 512 w 512"/>
              <a:gd name="T89" fmla="*/ 287 h 766"/>
              <a:gd name="T90" fmla="*/ 510 w 512"/>
              <a:gd name="T91" fmla="*/ 274 h 766"/>
              <a:gd name="T92" fmla="*/ 507 w 512"/>
              <a:gd name="T93" fmla="*/ 262 h 766"/>
              <a:gd name="T94" fmla="*/ 501 w 512"/>
              <a:gd name="T95" fmla="*/ 251 h 766"/>
              <a:gd name="T96" fmla="*/ 492 w 512"/>
              <a:gd name="T97" fmla="*/ 241 h 766"/>
              <a:gd name="T98" fmla="*/ 483 w 512"/>
              <a:gd name="T99" fmla="*/ 234 h 766"/>
              <a:gd name="T100" fmla="*/ 472 w 512"/>
              <a:gd name="T101" fmla="*/ 228 h 766"/>
              <a:gd name="T102" fmla="*/ 460 w 512"/>
              <a:gd name="T103" fmla="*/ 224 h 766"/>
              <a:gd name="T104" fmla="*/ 448 w 512"/>
              <a:gd name="T105" fmla="*/ 223 h 766"/>
              <a:gd name="T106" fmla="*/ 448 w 512"/>
              <a:gd name="T107" fmla="*/ 223 h 766"/>
              <a:gd name="T108" fmla="*/ 400 w 512"/>
              <a:gd name="T109" fmla="*/ 223 h 766"/>
              <a:gd name="T110" fmla="*/ 111 w 512"/>
              <a:gd name="T111" fmla="*/ 223 h 766"/>
              <a:gd name="T112" fmla="*/ 111 w 512"/>
              <a:gd name="T113" fmla="*/ 47 h 766"/>
              <a:gd name="T114" fmla="*/ 400 w 512"/>
              <a:gd name="T115" fmla="*/ 47 h 766"/>
              <a:gd name="T116" fmla="*/ 400 w 512"/>
              <a:gd name="T117" fmla="*/ 223 h 7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12" h="766">
                <a:moveTo>
                  <a:pt x="223" y="95"/>
                </a:moveTo>
                <a:lnTo>
                  <a:pt x="159" y="95"/>
                </a:lnTo>
                <a:lnTo>
                  <a:pt x="159" y="160"/>
                </a:lnTo>
                <a:lnTo>
                  <a:pt x="223" y="160"/>
                </a:lnTo>
                <a:lnTo>
                  <a:pt x="223" y="95"/>
                </a:lnTo>
                <a:close/>
                <a:moveTo>
                  <a:pt x="352" y="95"/>
                </a:moveTo>
                <a:lnTo>
                  <a:pt x="287" y="95"/>
                </a:lnTo>
                <a:lnTo>
                  <a:pt x="287" y="160"/>
                </a:lnTo>
                <a:lnTo>
                  <a:pt x="352" y="160"/>
                </a:lnTo>
                <a:lnTo>
                  <a:pt x="352" y="95"/>
                </a:lnTo>
                <a:close/>
                <a:moveTo>
                  <a:pt x="448" y="223"/>
                </a:moveTo>
                <a:lnTo>
                  <a:pt x="448" y="0"/>
                </a:lnTo>
                <a:lnTo>
                  <a:pt x="63" y="0"/>
                </a:lnTo>
                <a:lnTo>
                  <a:pt x="63" y="223"/>
                </a:lnTo>
                <a:lnTo>
                  <a:pt x="63" y="223"/>
                </a:lnTo>
                <a:lnTo>
                  <a:pt x="50" y="224"/>
                </a:lnTo>
                <a:lnTo>
                  <a:pt x="39" y="228"/>
                </a:lnTo>
                <a:lnTo>
                  <a:pt x="27" y="234"/>
                </a:lnTo>
                <a:lnTo>
                  <a:pt x="19" y="241"/>
                </a:lnTo>
                <a:lnTo>
                  <a:pt x="10" y="251"/>
                </a:lnTo>
                <a:lnTo>
                  <a:pt x="4" y="262"/>
                </a:lnTo>
                <a:lnTo>
                  <a:pt x="1" y="274"/>
                </a:lnTo>
                <a:lnTo>
                  <a:pt x="0" y="287"/>
                </a:lnTo>
                <a:lnTo>
                  <a:pt x="0" y="703"/>
                </a:lnTo>
                <a:lnTo>
                  <a:pt x="0" y="703"/>
                </a:lnTo>
                <a:lnTo>
                  <a:pt x="1" y="716"/>
                </a:lnTo>
                <a:lnTo>
                  <a:pt x="4" y="728"/>
                </a:lnTo>
                <a:lnTo>
                  <a:pt x="10" y="739"/>
                </a:lnTo>
                <a:lnTo>
                  <a:pt x="19" y="748"/>
                </a:lnTo>
                <a:lnTo>
                  <a:pt x="27" y="756"/>
                </a:lnTo>
                <a:lnTo>
                  <a:pt x="39" y="762"/>
                </a:lnTo>
                <a:lnTo>
                  <a:pt x="50" y="765"/>
                </a:lnTo>
                <a:lnTo>
                  <a:pt x="63" y="766"/>
                </a:lnTo>
                <a:lnTo>
                  <a:pt x="448" y="766"/>
                </a:lnTo>
                <a:lnTo>
                  <a:pt x="448" y="766"/>
                </a:lnTo>
                <a:lnTo>
                  <a:pt x="460" y="765"/>
                </a:lnTo>
                <a:lnTo>
                  <a:pt x="472" y="762"/>
                </a:lnTo>
                <a:lnTo>
                  <a:pt x="483" y="756"/>
                </a:lnTo>
                <a:lnTo>
                  <a:pt x="492" y="748"/>
                </a:lnTo>
                <a:lnTo>
                  <a:pt x="501" y="739"/>
                </a:lnTo>
                <a:lnTo>
                  <a:pt x="507" y="728"/>
                </a:lnTo>
                <a:lnTo>
                  <a:pt x="510" y="716"/>
                </a:lnTo>
                <a:lnTo>
                  <a:pt x="512" y="703"/>
                </a:lnTo>
                <a:lnTo>
                  <a:pt x="512" y="287"/>
                </a:lnTo>
                <a:lnTo>
                  <a:pt x="512" y="287"/>
                </a:lnTo>
                <a:lnTo>
                  <a:pt x="510" y="274"/>
                </a:lnTo>
                <a:lnTo>
                  <a:pt x="507" y="262"/>
                </a:lnTo>
                <a:lnTo>
                  <a:pt x="501" y="251"/>
                </a:lnTo>
                <a:lnTo>
                  <a:pt x="492" y="241"/>
                </a:lnTo>
                <a:lnTo>
                  <a:pt x="483" y="234"/>
                </a:lnTo>
                <a:lnTo>
                  <a:pt x="472" y="228"/>
                </a:lnTo>
                <a:lnTo>
                  <a:pt x="460" y="224"/>
                </a:lnTo>
                <a:lnTo>
                  <a:pt x="448" y="223"/>
                </a:lnTo>
                <a:lnTo>
                  <a:pt x="448" y="223"/>
                </a:lnTo>
                <a:close/>
                <a:moveTo>
                  <a:pt x="400" y="223"/>
                </a:moveTo>
                <a:lnTo>
                  <a:pt x="111" y="223"/>
                </a:lnTo>
                <a:lnTo>
                  <a:pt x="111" y="47"/>
                </a:lnTo>
                <a:lnTo>
                  <a:pt x="400" y="47"/>
                </a:lnTo>
                <a:lnTo>
                  <a:pt x="400" y="22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grpSp>
        <p:nvGrpSpPr>
          <p:cNvPr id="59" name="Group 58"/>
          <p:cNvGrpSpPr/>
          <p:nvPr/>
        </p:nvGrpSpPr>
        <p:grpSpPr>
          <a:xfrm>
            <a:off x="4581366" y="4839950"/>
            <a:ext cx="4310310" cy="132100"/>
            <a:chOff x="4581366" y="4807866"/>
            <a:chExt cx="4310310" cy="132100"/>
          </a:xfrm>
        </p:grpSpPr>
        <p:grpSp>
          <p:nvGrpSpPr>
            <p:cNvPr id="60" name="Group 59"/>
            <p:cNvGrpSpPr/>
            <p:nvPr/>
          </p:nvGrpSpPr>
          <p:grpSpPr>
            <a:xfrm>
              <a:off x="4581366" y="4807866"/>
              <a:ext cx="725438" cy="124245"/>
              <a:chOff x="4583717" y="4807866"/>
              <a:chExt cx="725438" cy="124245"/>
            </a:xfrm>
          </p:grpSpPr>
          <p:sp>
            <p:nvSpPr>
              <p:cNvPr id="73" name="Content Placeholder 2"/>
              <p:cNvSpPr txBox="1">
                <a:spLocks/>
              </p:cNvSpPr>
              <p:nvPr/>
            </p:nvSpPr>
            <p:spPr>
              <a:xfrm>
                <a:off x="4583717" y="4807866"/>
                <a:ext cx="289063" cy="124245"/>
              </a:xfrm>
              <a:prstGeom prst="rect">
                <a:avLst/>
              </a:prstGeom>
              <a:solidFill>
                <a:srgbClr val="0070C0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TextBox 73"/>
              <p:cNvSpPr txBox="1"/>
              <p:nvPr/>
            </p:nvSpPr>
            <p:spPr>
              <a:xfrm>
                <a:off x="4898786" y="4808433"/>
                <a:ext cx="41036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Function</a:t>
                </a:r>
              </a:p>
            </p:txBody>
          </p:sp>
        </p:grpSp>
        <p:grpSp>
          <p:nvGrpSpPr>
            <p:cNvPr id="61" name="Group 60"/>
            <p:cNvGrpSpPr/>
            <p:nvPr/>
          </p:nvGrpSpPr>
          <p:grpSpPr>
            <a:xfrm>
              <a:off x="5340610" y="4807866"/>
              <a:ext cx="661318" cy="124245"/>
              <a:chOff x="5322807" y="4807866"/>
              <a:chExt cx="661318" cy="124245"/>
            </a:xfrm>
          </p:grpSpPr>
          <p:sp>
            <p:nvSpPr>
              <p:cNvPr id="68" name="Content Placeholder 2"/>
              <p:cNvSpPr txBox="1">
                <a:spLocks/>
              </p:cNvSpPr>
              <p:nvPr/>
            </p:nvSpPr>
            <p:spPr>
              <a:xfrm>
                <a:off x="5322807" y="4807866"/>
                <a:ext cx="289063" cy="124245"/>
              </a:xfrm>
              <a:prstGeom prst="rect">
                <a:avLst/>
              </a:prstGeom>
              <a:solidFill>
                <a:schemeClr val="accent1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b="1" i="1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TextBox 70"/>
              <p:cNvSpPr txBox="1"/>
              <p:nvPr/>
            </p:nvSpPr>
            <p:spPr>
              <a:xfrm>
                <a:off x="5637876" y="4808433"/>
                <a:ext cx="34624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 smtClean="0">
                    <a:latin typeface="Georgia" pitchFamily="18" charset="0"/>
                  </a:rPr>
                  <a:t>Criteria</a:t>
                </a:r>
                <a:endParaRPr lang="en-US" sz="800" dirty="0">
                  <a:latin typeface="Georgia" pitchFamily="18" charset="0"/>
                </a:endParaRPr>
              </a:p>
            </p:txBody>
          </p:sp>
        </p:grpSp>
        <p:grpSp>
          <p:nvGrpSpPr>
            <p:cNvPr id="62" name="Group 61"/>
            <p:cNvGrpSpPr/>
            <p:nvPr/>
          </p:nvGrpSpPr>
          <p:grpSpPr>
            <a:xfrm>
              <a:off x="6064119" y="4815721"/>
              <a:ext cx="1549381" cy="124245"/>
              <a:chOff x="6026162" y="4815721"/>
              <a:chExt cx="1549381" cy="124245"/>
            </a:xfrm>
          </p:grpSpPr>
          <p:sp>
            <p:nvSpPr>
              <p:cNvPr id="66" name="Content Placeholder 2"/>
              <p:cNvSpPr txBox="1">
                <a:spLocks/>
              </p:cNvSpPr>
              <p:nvPr/>
            </p:nvSpPr>
            <p:spPr>
              <a:xfrm>
                <a:off x="6026162" y="4815721"/>
                <a:ext cx="289063" cy="124245"/>
              </a:xfrm>
              <a:prstGeom prst="rect">
                <a:avLst/>
              </a:prstGeom>
              <a:solidFill>
                <a:srgbClr val="FF0066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FF0066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b="1" i="1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TextBox 66"/>
              <p:cNvSpPr txBox="1"/>
              <p:nvPr/>
            </p:nvSpPr>
            <p:spPr>
              <a:xfrm>
                <a:off x="6341231" y="4816288"/>
                <a:ext cx="1234312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 smtClean="0">
                    <a:latin typeface="Georgia" pitchFamily="18" charset="0"/>
                  </a:rPr>
                  <a:t>Range to test using Criteria</a:t>
                </a:r>
                <a:endParaRPr lang="en-US" sz="800" dirty="0">
                  <a:latin typeface="Georgia" pitchFamily="18" charset="0"/>
                </a:endParaRPr>
              </a:p>
            </p:txBody>
          </p:sp>
        </p:grpSp>
        <p:grpSp>
          <p:nvGrpSpPr>
            <p:cNvPr id="63" name="Group 62"/>
            <p:cNvGrpSpPr/>
            <p:nvPr/>
          </p:nvGrpSpPr>
          <p:grpSpPr>
            <a:xfrm>
              <a:off x="7645277" y="4807866"/>
              <a:ext cx="1246399" cy="124245"/>
              <a:chOff x="7587166" y="4807866"/>
              <a:chExt cx="1246399" cy="124245"/>
            </a:xfrm>
          </p:grpSpPr>
          <p:sp>
            <p:nvSpPr>
              <p:cNvPr id="64" name="Content Placeholder 2"/>
              <p:cNvSpPr txBox="1">
                <a:spLocks/>
              </p:cNvSpPr>
              <p:nvPr/>
            </p:nvSpPr>
            <p:spPr>
              <a:xfrm>
                <a:off x="7587166" y="4807866"/>
                <a:ext cx="289063" cy="124245"/>
              </a:xfrm>
              <a:prstGeom prst="rect">
                <a:avLst/>
              </a:prstGeom>
              <a:solidFill>
                <a:schemeClr val="tx1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B0F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b="1" i="1" dirty="0">
                  <a:solidFill>
                    <a:srgbClr val="00B0F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B0F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B0F0"/>
                  </a:solidFill>
                </a:endParaRPr>
              </a:p>
            </p:txBody>
          </p:sp>
          <p:sp>
            <p:nvSpPr>
              <p:cNvPr id="65" name="TextBox 64"/>
              <p:cNvSpPr txBox="1"/>
              <p:nvPr/>
            </p:nvSpPr>
            <p:spPr>
              <a:xfrm>
                <a:off x="7886190" y="4808433"/>
                <a:ext cx="947375" cy="123111"/>
              </a:xfrm>
              <a:prstGeom prst="rect">
                <a:avLst/>
              </a:prstGeom>
              <a:noFill/>
              <a:effectLst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 smtClean="0">
                    <a:latin typeface="Georgia" pitchFamily="18" charset="0"/>
                  </a:rPr>
                  <a:t>Range of cell to SUM</a:t>
                </a:r>
                <a:endParaRPr lang="en-US" sz="800" dirty="0">
                  <a:latin typeface="Georgia" pitchFamily="18" charset="0"/>
                </a:endParaRP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1512630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7"/>
  <p:tag name="ARTICULATE_PROJECT_OPEN" val="0"/>
  <p:tag name="ARTICULATE_SLIDE_THUMBNAIL_REFRESH" val="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PwC">
  <a:themeElements>
    <a:clrScheme name="hyperlink1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FFFFFF"/>
      </a:hlink>
      <a:folHlink>
        <a:srgbClr val="A3202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Theme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214</TotalTime>
  <Words>957</Words>
  <Application>Microsoft Office PowerPoint</Application>
  <PresentationFormat>On-screen Show (16:9)</PresentationFormat>
  <Paragraphs>144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Arial</vt:lpstr>
      <vt:lpstr>Courier New</vt:lpstr>
      <vt:lpstr>Georgia</vt:lpstr>
      <vt:lpstr>Noto Symbol</vt:lpstr>
      <vt:lpstr>PwC</vt:lpstr>
      <vt:lpstr>think-cell Slide</vt:lpstr>
      <vt:lpstr>Logical functions – IF function</vt:lpstr>
      <vt:lpstr>Logical functions– IF &amp; AND function</vt:lpstr>
      <vt:lpstr>Logical functions– IF + OR function</vt:lpstr>
      <vt:lpstr>Logical functions– Embedded IF function</vt:lpstr>
      <vt:lpstr>Logical functions– COUNTIF/COUNTIFS function</vt:lpstr>
      <vt:lpstr>Logical functions– SUMIF/SUMIFS func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blem solving with excel</dc:title>
  <dc:creator>Deborah Carter</dc:creator>
  <cp:lastModifiedBy>Kristopher M Hoover</cp:lastModifiedBy>
  <cp:revision>379</cp:revision>
  <dcterms:modified xsi:type="dcterms:W3CDTF">2018-04-19T14:23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F401AECB-C230-465C-8D95-8D784E59B772</vt:lpwstr>
  </property>
  <property fmtid="{D5CDD505-2E9C-101B-9397-08002B2CF9AE}" pid="3" name="ArticulatePath">
    <vt:lpwstr>Digital Assets Problem Solving with Excel</vt:lpwstr>
  </property>
</Properties>
</file>